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63"/>
  </p:notesMasterIdLst>
  <p:sldIdLst>
    <p:sldId id="393" r:id="rId2"/>
    <p:sldId id="257" r:id="rId3"/>
    <p:sldId id="259" r:id="rId4"/>
    <p:sldId id="395" r:id="rId5"/>
    <p:sldId id="260" r:id="rId6"/>
    <p:sldId id="396" r:id="rId7"/>
    <p:sldId id="404" r:id="rId8"/>
    <p:sldId id="261" r:id="rId9"/>
    <p:sldId id="326" r:id="rId10"/>
    <p:sldId id="359" r:id="rId11"/>
    <p:sldId id="360" r:id="rId12"/>
    <p:sldId id="362" r:id="rId13"/>
    <p:sldId id="363" r:id="rId14"/>
    <p:sldId id="350" r:id="rId15"/>
    <p:sldId id="364" r:id="rId16"/>
    <p:sldId id="333" r:id="rId17"/>
    <p:sldId id="334" r:id="rId18"/>
    <p:sldId id="335" r:id="rId19"/>
    <p:sldId id="361" r:id="rId20"/>
    <p:sldId id="336" r:id="rId21"/>
    <p:sldId id="337" r:id="rId22"/>
    <p:sldId id="338" r:id="rId23"/>
    <p:sldId id="339" r:id="rId24"/>
    <p:sldId id="340" r:id="rId25"/>
    <p:sldId id="341" r:id="rId26"/>
    <p:sldId id="398" r:id="rId27"/>
    <p:sldId id="366" r:id="rId28"/>
    <p:sldId id="397" r:id="rId29"/>
    <p:sldId id="365" r:id="rId30"/>
    <p:sldId id="369" r:id="rId31"/>
    <p:sldId id="368" r:id="rId32"/>
    <p:sldId id="370" r:id="rId33"/>
    <p:sldId id="371" r:id="rId34"/>
    <p:sldId id="372" r:id="rId35"/>
    <p:sldId id="373" r:id="rId36"/>
    <p:sldId id="374" r:id="rId37"/>
    <p:sldId id="376" r:id="rId38"/>
    <p:sldId id="375" r:id="rId39"/>
    <p:sldId id="377" r:id="rId40"/>
    <p:sldId id="378" r:id="rId41"/>
    <p:sldId id="379" r:id="rId42"/>
    <p:sldId id="380" r:id="rId43"/>
    <p:sldId id="381" r:id="rId44"/>
    <p:sldId id="382" r:id="rId45"/>
    <p:sldId id="384" r:id="rId46"/>
    <p:sldId id="383" r:id="rId47"/>
    <p:sldId id="385" r:id="rId48"/>
    <p:sldId id="400" r:id="rId49"/>
    <p:sldId id="401" r:id="rId50"/>
    <p:sldId id="399" r:id="rId51"/>
    <p:sldId id="367" r:id="rId52"/>
    <p:sldId id="386" r:id="rId53"/>
    <p:sldId id="387" r:id="rId54"/>
    <p:sldId id="388" r:id="rId55"/>
    <p:sldId id="402" r:id="rId56"/>
    <p:sldId id="403" r:id="rId57"/>
    <p:sldId id="389" r:id="rId58"/>
    <p:sldId id="390" r:id="rId59"/>
    <p:sldId id="391" r:id="rId60"/>
    <p:sldId id="392" r:id="rId61"/>
    <p:sldId id="394" r:id="rId62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B8FCBA-0CB6-49C2-A183-BEC02C0844F2}" v="595" dt="2022-12-05T14:11:26.3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78978" autoAdjust="0"/>
  </p:normalViewPr>
  <p:slideViewPr>
    <p:cSldViewPr snapToGrid="0">
      <p:cViewPr varScale="1">
        <p:scale>
          <a:sx n="98" d="100"/>
          <a:sy n="98" d="100"/>
        </p:scale>
        <p:origin x="72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notesMaster" Target="notesMasters/notesMaster1.xml"/><Relationship Id="rId68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D37F267C-2F58-4417-9004-B1A2DD85C140}"/>
    <pc:docChg chg="undo custSel addSld delSld modSld modMainMaster">
      <pc:chgData name="Koen Verbeeck" userId="24d0e79a7fd977da" providerId="LiveId" clId="{D37F267C-2F58-4417-9004-B1A2DD85C140}" dt="2022-09-24T11:24:54.533" v="121" actId="27636"/>
      <pc:docMkLst>
        <pc:docMk/>
      </pc:docMkLst>
      <pc:sldChg chg="modSp del">
        <pc:chgData name="Koen Verbeeck" userId="24d0e79a7fd977da" providerId="LiveId" clId="{D37F267C-2F58-4417-9004-B1A2DD85C140}" dt="2022-09-24T11:14:55.204" v="61" actId="47"/>
        <pc:sldMkLst>
          <pc:docMk/>
          <pc:sldMk cId="2837668149" sldId="25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4" creationId="{17E522BE-F42D-382D-F0B2-ADAF7E95213B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5" creationId="{10462E03-4F62-E013-B4EA-9DF27021922D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6" creationId="{1EB32BF5-C44E-4257-E6F8-78758B3050B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7" creationId="{4E630A8A-AB8A-0397-1E35-80492C57A0C7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8" creationId="{8DBB2EE8-C3E1-500E-0070-504387CC4A64}"/>
          </ac:spMkLst>
        </pc:spChg>
      </pc:sldChg>
      <pc:sldChg chg="addSp modSp add mod modTransition">
        <pc:chgData name="Koen Verbeeck" userId="24d0e79a7fd977da" providerId="LiveId" clId="{D37F267C-2F58-4417-9004-B1A2DD85C140}" dt="2022-09-24T11:20:29.140" v="85"/>
        <pc:sldMkLst>
          <pc:docMk/>
          <pc:sldMk cId="2619988835" sldId="257"/>
        </pc:sldMkLst>
        <pc:picChg chg="add mod">
          <ac:chgData name="Koen Verbeeck" userId="24d0e79a7fd977da" providerId="LiveId" clId="{D37F267C-2F58-4417-9004-B1A2DD85C140}" dt="2022-09-24T11:15:26.813" v="64" actId="1076"/>
          <ac:picMkLst>
            <pc:docMk/>
            <pc:sldMk cId="2619988835" sldId="257"/>
            <ac:picMk id="2" creationId="{68A38636-157E-14A7-9AB4-8E77CB3F2844}"/>
          </ac:picMkLst>
        </pc:picChg>
      </pc:sldChg>
      <pc:sldChg chg="modSp del">
        <pc:chgData name="Koen Verbeeck" userId="24d0e79a7fd977da" providerId="LiveId" clId="{D37F267C-2F58-4417-9004-B1A2DD85C140}" dt="2022-09-24T11:15:32.215" v="65" actId="47"/>
        <pc:sldMkLst>
          <pc:docMk/>
          <pc:sldMk cId="1507462970" sldId="25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7" creationId="{E915839F-8B26-980E-162F-19A1910DFAAE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8" creationId="{4C20C08B-E322-6537-3B2D-E94C4DB76B2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9" creationId="{089E4837-1118-811C-7B08-0555C44CC12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0" creationId="{AD407C16-384C-81CE-EE80-EEDAE6B3125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1" creationId="{D00AE150-0189-742B-4C50-BE68EC8A3FB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3" creationId="{4B8919E8-9398-9EDF-1043-C0C338434AD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4" creationId="{E055C199-0EC5-9E9C-200D-77F7188D6836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5" creationId="{0C788A13-6680-9B48-D9F3-126FDCE7BA85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6" creationId="{2D3993D2-C705-FC87-BF4C-D3C70B2C661E}"/>
          </ac:spMkLst>
        </pc:spChg>
        <pc:picChg chg="mod">
          <ac:chgData name="Koen Verbeeck" userId="24d0e79a7fd977da" providerId="LiveId" clId="{D37F267C-2F58-4417-9004-B1A2DD85C140}" dt="2022-09-24T11:13:57.721" v="0"/>
          <ac:picMkLst>
            <pc:docMk/>
            <pc:sldMk cId="1507462970" sldId="258"/>
            <ac:picMk id="18" creationId="{1B05F251-4CE1-2326-7149-F4216A9D8061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756823938" sldId="25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56823938" sldId="259"/>
            <ac:spMk id="12" creationId="{4118D94C-15E2-B492-548E-21D591FF2AA8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756823938" sldId="259"/>
            <ac:spMk id="13" creationId="{0A925C7F-DC41-244E-985A-B5DACDDC487B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54624803" sldId="260"/>
        </pc:sldMkLst>
        <pc:spChg chg="mod">
          <ac:chgData name="Koen Verbeeck" userId="24d0e79a7fd977da" providerId="LiveId" clId="{D37F267C-2F58-4417-9004-B1A2DD85C140}" dt="2022-09-24T11:15:57.886" v="75" actId="403"/>
          <ac:spMkLst>
            <pc:docMk/>
            <pc:sldMk cId="4154624803" sldId="260"/>
            <ac:spMk id="2" creationId="{BE7B78B5-6D53-AE73-8782-C51DCC4B141B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4154624803" sldId="260"/>
            <ac:spMk id="3" creationId="{F6E729BF-5F31-08D7-B2BB-8F5B9AF98CC4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462608521" sldId="26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462608521" sldId="261"/>
            <ac:spMk id="4" creationId="{BA66A9FB-463B-9E25-ED20-D36959E12FD0}"/>
          </ac:spMkLst>
        </pc:spChg>
      </pc:sldChg>
      <pc:sldChg chg="del modTransition">
        <pc:chgData name="Koen Verbeeck" userId="24d0e79a7fd977da" providerId="LiveId" clId="{D37F267C-2F58-4417-9004-B1A2DD85C140}" dt="2022-09-24T11:24:46.707" v="109" actId="47"/>
        <pc:sldMkLst>
          <pc:docMk/>
          <pc:sldMk cId="3810910407" sldId="294"/>
        </pc:sldMkLst>
      </pc:sldChg>
      <pc:sldChg chg="modSp del modTransition">
        <pc:chgData name="Koen Verbeeck" userId="24d0e79a7fd977da" providerId="LiveId" clId="{D37F267C-2F58-4417-9004-B1A2DD85C140}" dt="2022-09-24T11:24:21.344" v="107" actId="47"/>
        <pc:sldMkLst>
          <pc:docMk/>
          <pc:sldMk cId="4118828104" sldId="29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18828104" sldId="295"/>
            <ac:spMk id="3" creationId="{3E3577B2-A7E4-824A-BCB3-D6B6A82E4FB4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4153685431" sldId="326"/>
        </pc:sldMkLst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17" creationId="{C743D7A6-E556-4B3F-9273-AFA26241F5DD}"/>
          </ac:spMkLst>
        </pc:spChg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26" creationId="{04EE3576-AD0E-463D-8D76-F6D62A36B0CA}"/>
          </ac:spMkLst>
        </pc:spChg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27" creationId="{9A4CAB36-AC83-4BA4-9F5C-A37319628748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583082039" sldId="33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583082039" sldId="333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583082039" sldId="333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645668492" sldId="33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645668492" sldId="334"/>
            <ac:spMk id="7" creationId="{72F6F57F-C0AA-422B-8F57-676F48FD547A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1702410809" sldId="33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702410809" sldId="335"/>
            <ac:spMk id="7" creationId="{72F6F57F-C0AA-422B-8F57-676F48FD547A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1710770000" sldId="336"/>
        </pc:sldMkLst>
        <pc:spChg chg="mod">
          <ac:chgData name="Koen Verbeeck" userId="24d0e79a7fd977da" providerId="LiveId" clId="{D37F267C-2F58-4417-9004-B1A2DD85C140}" dt="2022-09-24T11:20:16.357" v="84" actId="692"/>
          <ac:spMkLst>
            <pc:docMk/>
            <pc:sldMk cId="1710770000" sldId="336"/>
            <ac:spMk id="2" creationId="{7141ACBE-EEE1-4BCE-A411-0938C8F59478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8" creationId="{3785C0ED-C30B-40F8-AA20-D5630416083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207153917" sldId="33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8" creationId="{3785C0ED-C30B-40F8-AA20-D5630416083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193107596" sldId="33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193107596" sldId="338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8.241" v="1" actId="27636"/>
          <ac:spMkLst>
            <pc:docMk/>
            <pc:sldMk cId="3193107596" sldId="338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719184822" sldId="33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719184822" sldId="339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719184822" sldId="339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711598089" sldId="34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11598089" sldId="340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8.251" v="2" actId="27636"/>
          <ac:spMkLst>
            <pc:docMk/>
            <pc:sldMk cId="3711598089" sldId="340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363057950" sldId="34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363057950" sldId="341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363057950" sldId="341"/>
            <ac:spMk id="9" creationId="{D0D905AA-F567-4754-8548-5469E913BCD3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042761708" sldId="35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042761708" sldId="350"/>
            <ac:spMk id="5" creationId="{0429D1A2-B9E4-4C8C-918E-5AA49DF4C208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1" creationId="{AF378019-5E43-4DA5-9E61-B963BFDEDAD6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4" creationId="{62B499BB-29BF-44BE-811E-53C86B4A740D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7" creationId="{DD5A2266-F935-4E13-B363-13E08746BF8B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24" creationId="{9D7C4CC5-8C74-4500-8B4A-4A2A2D08F5B6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3663938526" sldId="359"/>
        </pc:sldMkLst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17" creationId="{C743D7A6-E556-4B3F-9273-AFA26241F5DD}"/>
          </ac:spMkLst>
        </pc:spChg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26" creationId="{04EE3576-AD0E-463D-8D76-F6D62A36B0CA}"/>
          </ac:spMkLst>
        </pc:spChg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27" creationId="{9A4CAB36-AC83-4BA4-9F5C-A37319628748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21293960" sldId="36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1293960" sldId="360"/>
            <ac:spMk id="2" creationId="{CF028B79-B5C6-260B-F29C-7FDEACAE0AF0}"/>
          </ac:spMkLst>
        </pc:spChg>
        <pc:spChg chg="mod">
          <ac:chgData name="Koen Verbeeck" userId="24d0e79a7fd977da" providerId="LiveId" clId="{D37F267C-2F58-4417-9004-B1A2DD85C140}" dt="2022-09-24T11:17:56.175" v="78" actId="403"/>
          <ac:spMkLst>
            <pc:docMk/>
            <pc:sldMk cId="21293960" sldId="360"/>
            <ac:spMk id="3" creationId="{7A09A9D0-E47F-03CA-0BDA-38B5E93DA5E9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865352436" sldId="36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865352436" sldId="361"/>
            <ac:spMk id="7" creationId="{72F6F57F-C0AA-422B-8F57-676F48FD547A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126655543" sldId="36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126655543" sldId="362"/>
            <ac:spMk id="2" creationId="{1B13BD23-DA07-8CD2-F6F9-47A4984D61D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126655543" sldId="362"/>
            <ac:spMk id="3" creationId="{30000C31-0CEF-FB22-A805-C2758FA90FE7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520766874" sldId="363"/>
        </pc:sldMkLst>
        <pc:picChg chg="mod">
          <ac:chgData name="Koen Verbeeck" userId="24d0e79a7fd977da" providerId="LiveId" clId="{D37F267C-2F58-4417-9004-B1A2DD85C140}" dt="2022-09-24T11:18:13.782" v="81" actId="14100"/>
          <ac:picMkLst>
            <pc:docMk/>
            <pc:sldMk cId="520766874" sldId="363"/>
            <ac:picMk id="4" creationId="{0B10AE09-2532-7B53-3239-4E9753AD0613}"/>
          </ac:picMkLst>
        </pc:picChg>
        <pc:picChg chg="mod">
          <ac:chgData name="Koen Verbeeck" userId="24d0e79a7fd977da" providerId="LiveId" clId="{D37F267C-2F58-4417-9004-B1A2DD85C140}" dt="2022-09-24T11:18:11.115" v="80" actId="1076"/>
          <ac:picMkLst>
            <pc:docMk/>
            <pc:sldMk cId="520766874" sldId="363"/>
            <ac:picMk id="5" creationId="{A358FBB7-1517-C3AC-1D7A-B3AFBE4DAF1D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693490143" sldId="36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693490143" sldId="364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741082868" sldId="36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741082868" sldId="365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1:06.261" v="87" actId="403"/>
        <pc:sldMkLst>
          <pc:docMk/>
          <pc:sldMk cId="1070248183" sldId="36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070248183" sldId="366"/>
            <ac:spMk id="5" creationId="{835AC1B8-CED8-519F-99C9-367B68596061}"/>
          </ac:spMkLst>
        </pc:spChg>
        <pc:spChg chg="mod">
          <ac:chgData name="Koen Verbeeck" userId="24d0e79a7fd977da" providerId="LiveId" clId="{D37F267C-2F58-4417-9004-B1A2DD85C140}" dt="2022-09-24T11:21:06.261" v="87" actId="403"/>
          <ac:spMkLst>
            <pc:docMk/>
            <pc:sldMk cId="1070248183" sldId="366"/>
            <ac:spMk id="6" creationId="{BEA8E630-9C7A-6FE5-70CD-B940ACE099B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079303926" sldId="36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079303926" sldId="367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1:34.053" v="92" actId="1076"/>
        <pc:sldMkLst>
          <pc:docMk/>
          <pc:sldMk cId="2287965247" sldId="36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287965247" sldId="368"/>
            <ac:spMk id="3" creationId="{D454531C-98FD-9E6D-148B-E736E8D71FA3}"/>
          </ac:spMkLst>
        </pc:spChg>
        <pc:picChg chg="mod">
          <ac:chgData name="Koen Verbeeck" userId="24d0e79a7fd977da" providerId="LiveId" clId="{D37F267C-2F58-4417-9004-B1A2DD85C140}" dt="2022-09-24T11:21:34.053" v="92" actId="1076"/>
          <ac:picMkLst>
            <pc:docMk/>
            <pc:sldMk cId="2287965247" sldId="368"/>
            <ac:picMk id="5" creationId="{C7F5F9D5-22FB-5F32-696E-D1C2F105FDEF}"/>
          </ac:picMkLst>
        </pc:picChg>
      </pc:sldChg>
      <pc:sldChg chg="modSp mod modTransition">
        <pc:chgData name="Koen Verbeeck" userId="24d0e79a7fd977da" providerId="LiveId" clId="{D37F267C-2F58-4417-9004-B1A2DD85C140}" dt="2022-09-24T11:21:23.892" v="89" actId="1076"/>
        <pc:sldMkLst>
          <pc:docMk/>
          <pc:sldMk cId="4099760080" sldId="369"/>
        </pc:sldMkLst>
        <pc:spChg chg="mod">
          <ac:chgData name="Koen Verbeeck" userId="24d0e79a7fd977da" providerId="LiveId" clId="{D37F267C-2F58-4417-9004-B1A2DD85C140}" dt="2022-09-24T11:21:23.892" v="89" actId="1076"/>
          <ac:spMkLst>
            <pc:docMk/>
            <pc:sldMk cId="4099760080" sldId="369"/>
            <ac:spMk id="2" creationId="{6CF70E06-AAE2-628F-9399-F7EEA466B9F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300926492" sldId="37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300926492" sldId="370"/>
            <ac:spMk id="3" creationId="{D454531C-98FD-9E6D-148B-E736E8D71FA3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218204355" sldId="37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218204355" sldId="371"/>
            <ac:spMk id="3" creationId="{070199DB-DC75-75C7-C88E-1212BEFD8E56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908002606" sldId="37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908002606" sldId="372"/>
            <ac:spMk id="3" creationId="{49C387C8-A73F-55C0-731D-20E4A0AB4D09}"/>
          </ac:spMkLst>
        </pc:spChg>
      </pc:sldChg>
      <pc:sldChg chg="modSp mod modTransition">
        <pc:chgData name="Koen Verbeeck" userId="24d0e79a7fd977da" providerId="LiveId" clId="{D37F267C-2F58-4417-9004-B1A2DD85C140}" dt="2022-09-24T11:21:58.764" v="94" actId="1076"/>
        <pc:sldMkLst>
          <pc:docMk/>
          <pc:sldMk cId="2958367999" sldId="37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958367999" sldId="373"/>
            <ac:spMk id="2" creationId="{1AC797D2-6D97-C139-3ACB-7BE98165DBC2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958367999" sldId="373"/>
            <ac:spMk id="3" creationId="{1C44CAB5-BD1C-E2D4-80C6-808EA06EEE2E}"/>
          </ac:spMkLst>
        </pc:spChg>
        <pc:spChg chg="mod">
          <ac:chgData name="Koen Verbeeck" userId="24d0e79a7fd977da" providerId="LiveId" clId="{D37F267C-2F58-4417-9004-B1A2DD85C140}" dt="2022-09-24T11:21:58.764" v="94" actId="1076"/>
          <ac:spMkLst>
            <pc:docMk/>
            <pc:sldMk cId="2958367999" sldId="373"/>
            <ac:spMk id="5" creationId="{516F744D-CA11-2212-AEE1-8EC151DB35FB}"/>
          </ac:spMkLst>
        </pc:spChg>
        <pc:picChg chg="mod">
          <ac:chgData name="Koen Verbeeck" userId="24d0e79a7fd977da" providerId="LiveId" clId="{D37F267C-2F58-4417-9004-B1A2DD85C140}" dt="2022-09-24T11:21:55.893" v="93" actId="14100"/>
          <ac:picMkLst>
            <pc:docMk/>
            <pc:sldMk cId="2958367999" sldId="373"/>
            <ac:picMk id="4" creationId="{6834E800-8A81-4E9E-B617-D41F435731C1}"/>
          </ac:picMkLst>
        </pc:picChg>
      </pc:sldChg>
      <pc:sldChg chg="modSp mod modTransition">
        <pc:chgData name="Koen Verbeeck" userId="24d0e79a7fd977da" providerId="LiveId" clId="{D37F267C-2F58-4417-9004-B1A2DD85C140}" dt="2022-09-24T11:22:16.893" v="96" actId="14100"/>
        <pc:sldMkLst>
          <pc:docMk/>
          <pc:sldMk cId="598735346" sldId="37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598735346" sldId="374"/>
            <ac:spMk id="3" creationId="{9BEF92BE-AF2B-B6AB-D3E0-1362BF515F22}"/>
          </ac:spMkLst>
        </pc:spChg>
        <pc:picChg chg="mod">
          <ac:chgData name="Koen Verbeeck" userId="24d0e79a7fd977da" providerId="LiveId" clId="{D37F267C-2F58-4417-9004-B1A2DD85C140}" dt="2022-09-24T11:22:16.893" v="96" actId="14100"/>
          <ac:picMkLst>
            <pc:docMk/>
            <pc:sldMk cId="598735346" sldId="374"/>
            <ac:picMk id="4" creationId="{484309BF-DE88-29EB-FA4F-BAAECB6D1F81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851076298" sldId="37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51076298" sldId="375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441268749" sldId="37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441268749" sldId="376"/>
            <ac:spMk id="3" creationId="{5EB4C691-894C-B80C-E24B-6DC6829D4005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864508774" sldId="37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64508774" sldId="377"/>
            <ac:spMk id="3" creationId="{CAE3E2FB-A566-20AF-CC31-868E1DE8673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184354291" sldId="37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184354291" sldId="378"/>
            <ac:spMk id="3" creationId="{4AEF1238-1C3D-B843-65B8-1A4C6EA2CA4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727812515" sldId="37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727812515" sldId="379"/>
            <ac:spMk id="3" creationId="{BB5FAB2F-F819-D11A-804D-E3029876C459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38162139" sldId="38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38162139" sldId="380"/>
            <ac:spMk id="3" creationId="{9C5042C2-9656-CD1A-1F57-D9276AD1B80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524414661" sldId="38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524414661" sldId="381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649543503" sldId="38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649543503" sldId="382"/>
            <ac:spMk id="3" creationId="{7F7F3778-A224-97A9-5AC5-33820C81C879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37338595" sldId="38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37338595" sldId="383"/>
            <ac:spMk id="3" creationId="{B8557147-512F-08EE-F1A7-0E77A96220AB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3964894102" sldId="38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964894102" sldId="384"/>
            <ac:spMk id="12" creationId="{4118D94C-15E2-B492-548E-21D591FF2AA8}"/>
          </ac:spMkLst>
        </pc:spChg>
        <pc:spChg chg="mod">
          <ac:chgData name="Koen Verbeeck" userId="24d0e79a7fd977da" providerId="LiveId" clId="{D37F267C-2F58-4417-9004-B1A2DD85C140}" dt="2022-09-24T11:13:58.281" v="3" actId="27636"/>
          <ac:spMkLst>
            <pc:docMk/>
            <pc:sldMk cId="3964894102" sldId="384"/>
            <ac:spMk id="13" creationId="{0A925C7F-DC41-244E-985A-B5DACDDC487B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909643325" sldId="38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909643325" sldId="385"/>
            <ac:spMk id="3" creationId="{719EA46B-5D6C-4A93-AA53-C2C22BA17BDA}"/>
          </ac:spMkLst>
        </pc:spChg>
      </pc:sldChg>
      <pc:sldChg chg="modSp mod modTransition">
        <pc:chgData name="Koen Verbeeck" userId="24d0e79a7fd977da" providerId="LiveId" clId="{D37F267C-2F58-4417-9004-B1A2DD85C140}" dt="2022-09-24T11:23:00.675" v="99" actId="20577"/>
        <pc:sldMkLst>
          <pc:docMk/>
          <pc:sldMk cId="3952157142" sldId="386"/>
        </pc:sldMkLst>
        <pc:spChg chg="mod">
          <ac:chgData name="Koen Verbeeck" userId="24d0e79a7fd977da" providerId="LiveId" clId="{D37F267C-2F58-4417-9004-B1A2DD85C140}" dt="2022-09-24T11:23:00.675" v="99" actId="20577"/>
          <ac:spMkLst>
            <pc:docMk/>
            <pc:sldMk cId="3952157142" sldId="386"/>
            <ac:spMk id="3" creationId="{A5D6BCF4-406E-E0CC-D93C-083D8ECA0A3C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56785005" sldId="38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56785005" sldId="387"/>
            <ac:spMk id="3" creationId="{764B68AE-4E1C-9BCA-6E23-9BB3BD4680B5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774748819" sldId="38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74748819" sldId="388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3:50.263" v="101" actId="403"/>
        <pc:sldMkLst>
          <pc:docMk/>
          <pc:sldMk cId="3336325687" sldId="38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336325687" sldId="389"/>
            <ac:spMk id="3" creationId="{EA4D08D7-419E-4E2C-CD1C-42EA937448C7}"/>
          </ac:spMkLst>
        </pc:spChg>
        <pc:spChg chg="mod">
          <ac:chgData name="Koen Verbeeck" userId="24d0e79a7fd977da" providerId="LiveId" clId="{D37F267C-2F58-4417-9004-B1A2DD85C140}" dt="2022-09-24T11:23:50.263" v="101" actId="403"/>
          <ac:spMkLst>
            <pc:docMk/>
            <pc:sldMk cId="3336325687" sldId="389"/>
            <ac:spMk id="4" creationId="{895A1C39-9832-8A7C-05A5-1367D94646E6}"/>
          </ac:spMkLst>
        </pc:spChg>
      </pc:sldChg>
      <pc:sldChg chg="modSp mod modTransition">
        <pc:chgData name="Koen Verbeeck" userId="24d0e79a7fd977da" providerId="LiveId" clId="{D37F267C-2F58-4417-9004-B1A2DD85C140}" dt="2022-09-24T11:23:55.474" v="103" actId="403"/>
        <pc:sldMkLst>
          <pc:docMk/>
          <pc:sldMk cId="4164429733" sldId="390"/>
        </pc:sldMkLst>
        <pc:spChg chg="mod">
          <ac:chgData name="Koen Verbeeck" userId="24d0e79a7fd977da" providerId="LiveId" clId="{D37F267C-2F58-4417-9004-B1A2DD85C140}" dt="2022-09-24T11:23:55.474" v="103" actId="403"/>
          <ac:spMkLst>
            <pc:docMk/>
            <pc:sldMk cId="4164429733" sldId="390"/>
            <ac:spMk id="2" creationId="{2C67D6C9-59EA-CA25-2C08-0BDCE7F88410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4164429733" sldId="390"/>
            <ac:spMk id="3" creationId="{8F2BC1F7-4A76-4260-3CE5-3A728E16E320}"/>
          </ac:spMkLst>
        </pc:spChg>
      </pc:sldChg>
      <pc:sldChg chg="modSp mod modTransition">
        <pc:chgData name="Koen Verbeeck" userId="24d0e79a7fd977da" providerId="LiveId" clId="{D37F267C-2F58-4417-9004-B1A2DD85C140}" dt="2022-09-24T11:24:02.072" v="105" actId="403"/>
        <pc:sldMkLst>
          <pc:docMk/>
          <pc:sldMk cId="2159238694" sldId="391"/>
        </pc:sldMkLst>
        <pc:spChg chg="mod">
          <ac:chgData name="Koen Verbeeck" userId="24d0e79a7fd977da" providerId="LiveId" clId="{D37F267C-2F58-4417-9004-B1A2DD85C140}" dt="2022-09-24T11:24:02.072" v="105" actId="403"/>
          <ac:spMkLst>
            <pc:docMk/>
            <pc:sldMk cId="2159238694" sldId="391"/>
            <ac:spMk id="2" creationId="{6384D18B-B0A6-7CE2-2509-7CDD2EE56BE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159238694" sldId="391"/>
            <ac:spMk id="3" creationId="{2F5E23EB-54F0-7BB2-F813-51C8DB0A12D8}"/>
          </ac:spMkLst>
        </pc:spChg>
      </pc:sldChg>
      <pc:sldChg chg="modSp mod modTransition">
        <pc:chgData name="Koen Verbeeck" userId="24d0e79a7fd977da" providerId="LiveId" clId="{D37F267C-2F58-4417-9004-B1A2DD85C140}" dt="2022-09-24T11:24:12.358" v="106" actId="113"/>
        <pc:sldMkLst>
          <pc:docMk/>
          <pc:sldMk cId="1114564687" sldId="392"/>
        </pc:sldMkLst>
        <pc:spChg chg="mod">
          <ac:chgData name="Koen Verbeeck" userId="24d0e79a7fd977da" providerId="LiveId" clId="{D37F267C-2F58-4417-9004-B1A2DD85C140}" dt="2022-09-24T11:24:12.358" v="106" actId="113"/>
          <ac:spMkLst>
            <pc:docMk/>
            <pc:sldMk cId="1114564687" sldId="392"/>
            <ac:spMk id="2" creationId="{4FE9A6BA-1C0F-AB5A-7DE0-9C71EB4DF71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114564687" sldId="392"/>
            <ac:spMk id="3" creationId="{B0E1BD6E-A481-9AA2-A6D5-374BA1F8F2A4}"/>
          </ac:spMkLst>
        </pc:spChg>
      </pc:sldChg>
      <pc:sldChg chg="addSp delSp modSp new mod modTransition modClrScheme chgLayout">
        <pc:chgData name="Koen Verbeeck" userId="24d0e79a7fd977da" providerId="LiveId" clId="{D37F267C-2F58-4417-9004-B1A2DD85C140}" dt="2022-09-24T11:20:29.140" v="85"/>
        <pc:sldMkLst>
          <pc:docMk/>
          <pc:sldMk cId="3677851476" sldId="393"/>
        </pc:sldMkLst>
        <pc:spChg chg="del mod ord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2" creationId="{0AAD59D7-4D97-7CD3-4DE0-BFCAF4DAA6B6}"/>
          </ac:spMkLst>
        </pc:spChg>
        <pc:spChg chg="del mod ord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3" creationId="{01C2F9B4-35D8-85DB-7CBC-AC17FF270BF4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4" creationId="{3FAF7755-7AE9-570C-3C65-A8C0FF723C14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5" creationId="{B3C112EC-3113-060A-4AB7-EFC3F8076999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6" creationId="{938B1DAE-62F1-5B26-8CE6-65C35DAB7D4C}"/>
          </ac:spMkLst>
        </pc:spChg>
        <pc:spChg chg="add mod ord">
          <ac:chgData name="Koen Verbeeck" userId="24d0e79a7fd977da" providerId="LiveId" clId="{D37F267C-2F58-4417-9004-B1A2DD85C140}" dt="2022-09-24T11:14:24.058" v="37" actId="20577"/>
          <ac:spMkLst>
            <pc:docMk/>
            <pc:sldMk cId="3677851476" sldId="393"/>
            <ac:spMk id="7" creationId="{AD84C2D4-A9B0-9462-48D9-81618A5E29D8}"/>
          </ac:spMkLst>
        </pc:spChg>
        <pc:spChg chg="add mod ord">
          <ac:chgData name="Koen Verbeeck" userId="24d0e79a7fd977da" providerId="LiveId" clId="{D37F267C-2F58-4417-9004-B1A2DD85C140}" dt="2022-09-24T11:14:36.140" v="60" actId="20577"/>
          <ac:spMkLst>
            <pc:docMk/>
            <pc:sldMk cId="3677851476" sldId="393"/>
            <ac:spMk id="8" creationId="{E47470EA-B5C1-BAB4-F649-B9DC54E64973}"/>
          </ac:spMkLst>
        </pc:spChg>
      </pc:sldChg>
      <pc:sldChg chg="modSp add mod">
        <pc:chgData name="Koen Verbeeck" userId="24d0e79a7fd977da" providerId="LiveId" clId="{D37F267C-2F58-4417-9004-B1A2DD85C140}" dt="2022-09-24T11:24:54.533" v="121" actId="27636"/>
        <pc:sldMkLst>
          <pc:docMk/>
          <pc:sldMk cId="860859307" sldId="394"/>
        </pc:sldMkLst>
        <pc:spChg chg="mod">
          <ac:chgData name="Koen Verbeeck" userId="24d0e79a7fd977da" providerId="LiveId" clId="{D37F267C-2F58-4417-9004-B1A2DD85C140}" dt="2022-09-24T11:24:54.533" v="121" actId="27636"/>
          <ac:spMkLst>
            <pc:docMk/>
            <pc:sldMk cId="860859307" sldId="394"/>
            <ac:spMk id="4" creationId="{BA66A9FB-463B-9E25-ED20-D36959E12FD0}"/>
          </ac:spMkLst>
        </pc:spChg>
      </pc:sldChg>
      <pc:sldChg chg="modSp new del mod">
        <pc:chgData name="Koen Verbeeck" userId="24d0e79a7fd977da" providerId="LiveId" clId="{D37F267C-2F58-4417-9004-B1A2DD85C140}" dt="2022-09-24T11:15:48.134" v="73" actId="680"/>
        <pc:sldMkLst>
          <pc:docMk/>
          <pc:sldMk cId="3071661888" sldId="394"/>
        </pc:sldMkLst>
        <pc:spChg chg="mod">
          <ac:chgData name="Koen Verbeeck" userId="24d0e79a7fd977da" providerId="LiveId" clId="{D37F267C-2F58-4417-9004-B1A2DD85C140}" dt="2022-09-24T11:15:47.820" v="72" actId="20577"/>
          <ac:spMkLst>
            <pc:docMk/>
            <pc:sldMk cId="3071661888" sldId="394"/>
            <ac:spMk id="3" creationId="{595BDE45-3E0A-EDCE-0260-F701CE302591}"/>
          </ac:spMkLst>
        </pc:spChg>
      </pc:sldChg>
      <pc:sldMasterChg chg="delSldLayout modSldLayout">
        <pc:chgData name="Koen Verbeeck" userId="24d0e79a7fd977da" providerId="LiveId" clId="{D37F267C-2F58-4417-9004-B1A2DD85C140}" dt="2022-09-24T11:24:46.707" v="109" actId="47"/>
        <pc:sldMasterMkLst>
          <pc:docMk/>
          <pc:sldMasterMk cId="1201240828" sldId="2147483683"/>
        </pc:sldMasterMkLst>
        <pc:sldLayoutChg chg="delSp del">
          <pc:chgData name="Koen Verbeeck" userId="24d0e79a7fd977da" providerId="LiveId" clId="{D37F267C-2F58-4417-9004-B1A2DD85C140}" dt="2022-09-24T11:14:55.204" v="61" actId="47"/>
          <pc:sldLayoutMkLst>
            <pc:docMk/>
            <pc:sldMasterMk cId="1201240828" sldId="2147483683"/>
            <pc:sldLayoutMk cId="3555459124" sldId="2147483723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3555459124" sldId="2147483723"/>
              <ac:spMk id="15" creationId="{E95257CC-89CF-8B42-B35F-1821834E5E2E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5" creationId="{BC912B43-8153-9E48-B12F-3ADCA4099F0A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13" creationId="{7BAEB0EF-D625-4D45-829D-8BAAC2634207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16" creationId="{01D1B286-D253-774E-B8AF-7718373030A6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26" creationId="{A13DEB97-CA98-F64B-94A4-A309B88C1F4E}"/>
            </ac:picMkLst>
          </pc:picChg>
        </pc:sldLayoutChg>
        <pc:sldLayoutChg chg="delSp del">
          <pc:chgData name="Koen Verbeeck" userId="24d0e79a7fd977da" providerId="LiveId" clId="{D37F267C-2F58-4417-9004-B1A2DD85C140}" dt="2022-09-24T11:15:32.215" v="65" actId="47"/>
          <pc:sldLayoutMkLst>
            <pc:docMk/>
            <pc:sldMasterMk cId="1201240828" sldId="2147483683"/>
            <pc:sldLayoutMk cId="3851593473" sldId="2147483724"/>
          </pc:sldLayoutMkLst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51593473" sldId="2147483724"/>
              <ac:picMk id="13" creationId="{9D74CC3F-A43F-7247-8851-E564DEF82EFC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51593473" sldId="2147483724"/>
              <ac:picMk id="14" creationId="{A61241A6-6E09-2241-89A2-765B6577E8E1}"/>
            </ac:picMkLst>
          </pc:picChg>
        </pc:sldLayoutChg>
        <pc:sldLayoutChg chg="delSp">
          <pc:chgData name="Koen Verbeeck" userId="24d0e79a7fd977da" providerId="LiveId" clId="{D37F267C-2F58-4417-9004-B1A2DD85C140}" dt="2022-09-24T11:13:57.721" v="0"/>
          <pc:sldLayoutMkLst>
            <pc:docMk/>
            <pc:sldMasterMk cId="1201240828" sldId="2147483683"/>
            <pc:sldLayoutMk cId="643094023" sldId="2147483725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643094023" sldId="2147483725"/>
              <ac:spMk id="15" creationId="{BC9F1BC0-0EB0-E844-8085-78C9D9C9E52E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643094023" sldId="2147483725"/>
              <ac:picMk id="5" creationId="{D6A499BE-5785-8240-9D7C-DA5C98449F00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643094023" sldId="2147483725"/>
              <ac:picMk id="7" creationId="{1CB126BA-D297-1A41-84BE-DF01748B27FA}"/>
            </ac:picMkLst>
          </pc:picChg>
        </pc:sldLayoutChg>
        <pc:sldLayoutChg chg="delSp">
          <pc:chgData name="Koen Verbeeck" userId="24d0e79a7fd977da" providerId="LiveId" clId="{D37F267C-2F58-4417-9004-B1A2DD85C140}" dt="2022-09-24T11:13:57.721" v="0"/>
          <pc:sldLayoutMkLst>
            <pc:docMk/>
            <pc:sldMasterMk cId="1201240828" sldId="2147483683"/>
            <pc:sldLayoutMk cId="3485930989" sldId="2147483726"/>
          </pc:sldLayoutMkLst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485930989" sldId="2147483726"/>
              <ac:picMk id="5" creationId="{C601D55F-2F08-B849-A87B-63B0B257C36F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485930989" sldId="2147483726"/>
              <ac:picMk id="10" creationId="{10D76F5F-7485-2C49-990E-2AAEF04139FD}"/>
            </ac:picMkLst>
          </pc:picChg>
        </pc:sldLayoutChg>
        <pc:sldLayoutChg chg="delSp del">
          <pc:chgData name="Koen Verbeeck" userId="24d0e79a7fd977da" providerId="LiveId" clId="{D37F267C-2F58-4417-9004-B1A2DD85C140}" dt="2022-09-24T11:24:46.707" v="109" actId="47"/>
          <pc:sldLayoutMkLst>
            <pc:docMk/>
            <pc:sldMasterMk cId="1201240828" sldId="2147483683"/>
            <pc:sldLayoutMk cId="1238469900" sldId="2147483729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" creationId="{69D47C13-BA7D-D148-A962-B2F9880B3816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6" creationId="{FEDC7C0B-1DAB-8544-9AAC-01B9C9A7782C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7" creationId="{5AF22D7A-4ABB-6245-8502-18EF607330AF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8" creationId="{FDE4081F-E44B-FA48-BB8E-521074B70AEA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9" creationId="{7E17D78B-8A8F-764E-9781-65B72476A5DF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17" creationId="{B10237F4-5BA9-4941-9A64-8DCF0DEE277D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32" creationId="{47D9DA39-36BD-8E49-A976-636CEBB38A48}"/>
            </ac:picMkLst>
          </pc:picChg>
        </pc:sldLayoutChg>
        <pc:sldLayoutChg chg="delSp del">
          <pc:chgData name="Koen Verbeeck" userId="24d0e79a7fd977da" providerId="LiveId" clId="{D37F267C-2F58-4417-9004-B1A2DD85C140}" dt="2022-09-24T11:24:21.344" v="107" actId="47"/>
          <pc:sldLayoutMkLst>
            <pc:docMk/>
            <pc:sldMasterMk cId="1201240828" sldId="2147483683"/>
            <pc:sldLayoutMk cId="389718627" sldId="2147483730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389718627" sldId="2147483730"/>
              <ac:spMk id="2" creationId="{69D47C13-BA7D-D148-A962-B2F9880B3816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9718627" sldId="2147483730"/>
              <ac:picMk id="10" creationId="{5F386178-A690-AE48-B4A4-254A99486F74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9718627" sldId="2147483730"/>
              <ac:picMk id="20" creationId="{19787C4E-E72C-4349-9E85-A44A9A570ABD}"/>
            </ac:picMkLst>
          </pc:picChg>
        </pc:sldLayoutChg>
      </pc:sldMasterChg>
    </pc:docChg>
  </pc:docChgLst>
  <pc:docChgLst>
    <pc:chgData name="Koen Verbeeck" userId="24d0e79a7fd977da" providerId="LiveId" clId="{46B8FCBA-0CB6-49C2-A183-BEC02C0844F2}"/>
    <pc:docChg chg="undo custSel addSld delSld modSld sldOrd delMainMaster modMainMaster">
      <pc:chgData name="Koen Verbeeck" userId="24d0e79a7fd977da" providerId="LiveId" clId="{46B8FCBA-0CB6-49C2-A183-BEC02C0844F2}" dt="2022-12-05T14:11:57.403" v="1598" actId="20577"/>
      <pc:docMkLst>
        <pc:docMk/>
      </pc:docMkLst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619988835" sldId="25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56823938" sldId="259"/>
        </pc:sldMkLst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4154624803" sldId="260"/>
        </pc:sldMkLst>
        <pc:spChg chg="mod">
          <ac:chgData name="Koen Verbeeck" userId="24d0e79a7fd977da" providerId="LiveId" clId="{46B8FCBA-0CB6-49C2-A183-BEC02C0844F2}" dt="2022-11-22T11:45:08.455" v="502" actId="20577"/>
          <ac:spMkLst>
            <pc:docMk/>
            <pc:sldMk cId="4154624803" sldId="260"/>
            <ac:spMk id="2" creationId="{BE7B78B5-6D53-AE73-8782-C51DCC4B141B}"/>
          </ac:spMkLst>
        </pc:sp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4" creationId="{A60CA36B-8B56-F2FC-58D0-326239C63F58}"/>
          </ac:picMkLst>
        </pc:pic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5" creationId="{B3401B36-E736-2239-BBA1-84EA91F2357F}"/>
          </ac:picMkLst>
        </pc:pic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6" creationId="{F29E857B-9494-97EB-6AD9-B48B56006B4C}"/>
          </ac:picMkLst>
        </pc:picChg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2462608521" sldId="261"/>
        </pc:sldMkLst>
        <pc:picChg chg="add mod">
          <ac:chgData name="Koen Verbeeck" userId="24d0e79a7fd977da" providerId="LiveId" clId="{46B8FCBA-0CB6-49C2-A183-BEC02C0844F2}" dt="2022-11-22T11:31:41.737" v="219" actId="1076"/>
          <ac:picMkLst>
            <pc:docMk/>
            <pc:sldMk cId="2462608521" sldId="261"/>
            <ac:picMk id="2" creationId="{A4BFFA03-FD89-98D7-30C6-5C4E083CEA27}"/>
          </ac:picMkLst>
        </pc:pic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53685431" sldId="32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583082039" sldId="33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645668492" sldId="33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702410809" sldId="33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710770000" sldId="33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207153917" sldId="33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193107596" sldId="33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719184822" sldId="33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11598089" sldId="34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363057950" sldId="34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042761708" sldId="35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63938526" sldId="359"/>
        </pc:sldMkLst>
      </pc:sldChg>
      <pc:sldChg chg="modTransition modAnim">
        <pc:chgData name="Koen Verbeeck" userId="24d0e79a7fd977da" providerId="LiveId" clId="{46B8FCBA-0CB6-49C2-A183-BEC02C0844F2}" dt="2022-12-05T14:09:34.517" v="1524"/>
        <pc:sldMkLst>
          <pc:docMk/>
          <pc:sldMk cId="21293960" sldId="36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865352436" sldId="36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126655543" sldId="36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520766874" sldId="36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693490143" sldId="364"/>
        </pc:sldMkLst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1741082868" sldId="365"/>
        </pc:sldMkLst>
        <pc:spChg chg="mod">
          <ac:chgData name="Koen Verbeeck" userId="24d0e79a7fd977da" providerId="LiveId" clId="{46B8FCBA-0CB6-49C2-A183-BEC02C0844F2}" dt="2022-11-22T11:45:29.433" v="525" actId="20577"/>
          <ac:spMkLst>
            <pc:docMk/>
            <pc:sldMk cId="1741082868" sldId="365"/>
            <ac:spMk id="4" creationId="{BA66A9FB-463B-9E25-ED20-D36959E12FD0}"/>
          </ac:spMkLst>
        </pc:spChg>
        <pc:picChg chg="add mod">
          <ac:chgData name="Koen Verbeeck" userId="24d0e79a7fd977da" providerId="LiveId" clId="{46B8FCBA-0CB6-49C2-A183-BEC02C0844F2}" dt="2022-11-22T11:39:28.419" v="311" actId="14100"/>
          <ac:picMkLst>
            <pc:docMk/>
            <pc:sldMk cId="1741082868" sldId="365"/>
            <ac:picMk id="2" creationId="{209F9467-A97E-C5ED-641B-F571BD03243E}"/>
          </ac:picMkLst>
        </pc:picChg>
      </pc:sldChg>
      <pc:sldChg chg="modSp mod ord modTransition">
        <pc:chgData name="Koen Verbeeck" userId="24d0e79a7fd977da" providerId="LiveId" clId="{46B8FCBA-0CB6-49C2-A183-BEC02C0844F2}" dt="2022-12-05T14:09:34.517" v="1524"/>
        <pc:sldMkLst>
          <pc:docMk/>
          <pc:sldMk cId="1070248183" sldId="366"/>
        </pc:sldMkLst>
        <pc:spChg chg="mod">
          <ac:chgData name="Koen Verbeeck" userId="24d0e79a7fd977da" providerId="LiveId" clId="{46B8FCBA-0CB6-49C2-A183-BEC02C0844F2}" dt="2022-11-22T11:54:01.713" v="1039" actId="21"/>
          <ac:spMkLst>
            <pc:docMk/>
            <pc:sldMk cId="1070248183" sldId="366"/>
            <ac:spMk id="6" creationId="{BEA8E630-9C7A-6FE5-70CD-B940ACE099B8}"/>
          </ac:spMkLst>
        </pc:spChg>
      </pc:sldChg>
      <pc:sldChg chg="addSp modSp mod modTransition">
        <pc:chgData name="Koen Verbeeck" userId="24d0e79a7fd977da" providerId="LiveId" clId="{46B8FCBA-0CB6-49C2-A183-BEC02C0844F2}" dt="2022-12-05T14:09:34.517" v="1524"/>
        <pc:sldMkLst>
          <pc:docMk/>
          <pc:sldMk cId="2079303926" sldId="367"/>
        </pc:sldMkLst>
        <pc:picChg chg="add mod">
          <ac:chgData name="Koen Verbeeck" userId="24d0e79a7fd977da" providerId="LiveId" clId="{46B8FCBA-0CB6-49C2-A183-BEC02C0844F2}" dt="2022-11-22T11:46:43.964" v="530" actId="14100"/>
          <ac:picMkLst>
            <pc:docMk/>
            <pc:sldMk cId="2079303926" sldId="367"/>
            <ac:picMk id="2" creationId="{4A3D8B63-6709-1407-A575-86C9AFF876E4}"/>
          </ac:picMkLst>
        </pc:pic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287965247" sldId="36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099760080" sldId="36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300926492" sldId="37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218204355" sldId="371"/>
        </pc:sldMkLst>
      </pc:sldChg>
      <pc:sldChg chg="modSp mod modTransition">
        <pc:chgData name="Koen Verbeeck" userId="24d0e79a7fd977da" providerId="LiveId" clId="{46B8FCBA-0CB6-49C2-A183-BEC02C0844F2}" dt="2022-12-05T14:09:34.517" v="1524"/>
        <pc:sldMkLst>
          <pc:docMk/>
          <pc:sldMk cId="1908002606" sldId="372"/>
        </pc:sldMkLst>
        <pc:spChg chg="mod">
          <ac:chgData name="Koen Verbeeck" userId="24d0e79a7fd977da" providerId="LiveId" clId="{46B8FCBA-0CB6-49C2-A183-BEC02C0844F2}" dt="2022-11-22T11:38:16.078" v="300" actId="27636"/>
          <ac:spMkLst>
            <pc:docMk/>
            <pc:sldMk cId="1908002606" sldId="372"/>
            <ac:spMk id="3" creationId="{49C387C8-A73F-55C0-731D-20E4A0AB4D09}"/>
          </ac:spMkLst>
        </pc:spChg>
      </pc:sldChg>
      <pc:sldChg chg="modSp mod modTransition">
        <pc:chgData name="Koen Verbeeck" userId="24d0e79a7fd977da" providerId="LiveId" clId="{46B8FCBA-0CB6-49C2-A183-BEC02C0844F2}" dt="2022-12-05T14:09:34.517" v="1524"/>
        <pc:sldMkLst>
          <pc:docMk/>
          <pc:sldMk cId="2958367999" sldId="373"/>
        </pc:sldMkLst>
        <pc:spChg chg="mod">
          <ac:chgData name="Koen Verbeeck" userId="24d0e79a7fd977da" providerId="LiveId" clId="{46B8FCBA-0CB6-49C2-A183-BEC02C0844F2}" dt="2022-11-22T11:38:16.081" v="301" actId="27636"/>
          <ac:spMkLst>
            <pc:docMk/>
            <pc:sldMk cId="2958367999" sldId="373"/>
            <ac:spMk id="3" creationId="{1C44CAB5-BD1C-E2D4-80C6-808EA06EEE2E}"/>
          </ac:spMkLst>
        </pc:sp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598735346" sldId="37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851076298" sldId="37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441268749" sldId="37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864508774" sldId="37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184354291" sldId="37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727812515" sldId="37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38162139" sldId="38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524414661" sldId="38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49543503" sldId="38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37338595" sldId="38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64894102" sldId="38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09643325" sldId="38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52157142" sldId="38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56785005" sldId="38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74748819" sldId="38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336325687" sldId="389"/>
        </pc:sldMkLst>
      </pc:sldChg>
      <pc:sldChg chg="modSp mod modTransition">
        <pc:chgData name="Koen Verbeeck" userId="24d0e79a7fd977da" providerId="LiveId" clId="{46B8FCBA-0CB6-49C2-A183-BEC02C0844F2}" dt="2022-12-05T14:11:57.403" v="1598" actId="20577"/>
        <pc:sldMkLst>
          <pc:docMk/>
          <pc:sldMk cId="4164429733" sldId="390"/>
        </pc:sldMkLst>
        <pc:spChg chg="mod">
          <ac:chgData name="Koen Verbeeck" userId="24d0e79a7fd977da" providerId="LiveId" clId="{46B8FCBA-0CB6-49C2-A183-BEC02C0844F2}" dt="2022-12-05T14:11:57.403" v="1598" actId="20577"/>
          <ac:spMkLst>
            <pc:docMk/>
            <pc:sldMk cId="4164429733" sldId="390"/>
            <ac:spMk id="2" creationId="{2C67D6C9-59EA-CA25-2C08-0BDCE7F88410}"/>
          </ac:spMkLst>
        </pc:sp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159238694" sldId="39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114564687" sldId="39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77851476" sldId="39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860859307" sldId="394"/>
        </pc:sldMkLst>
      </pc:sldChg>
      <pc:sldChg chg="addSp delSp modSp new mod modTransition modAnim">
        <pc:chgData name="Koen Verbeeck" userId="24d0e79a7fd977da" providerId="LiveId" clId="{46B8FCBA-0CB6-49C2-A183-BEC02C0844F2}" dt="2022-12-05T14:09:34.517" v="1524"/>
        <pc:sldMkLst>
          <pc:docMk/>
          <pc:sldMk cId="1515786070" sldId="395"/>
        </pc:sldMkLst>
        <pc:spChg chg="del">
          <ac:chgData name="Koen Verbeeck" userId="24d0e79a7fd977da" providerId="LiveId" clId="{46B8FCBA-0CB6-49C2-A183-BEC02C0844F2}" dt="2022-11-22T11:12:47.195" v="47"/>
          <ac:spMkLst>
            <pc:docMk/>
            <pc:sldMk cId="1515786070" sldId="395"/>
            <ac:spMk id="2" creationId="{1470F747-1C69-D4A3-0D15-2C2E1268952B}"/>
          </ac:spMkLst>
        </pc:spChg>
        <pc:spChg chg="mod">
          <ac:chgData name="Koen Verbeeck" userId="24d0e79a7fd977da" providerId="LiveId" clId="{46B8FCBA-0CB6-49C2-A183-BEC02C0844F2}" dt="2022-11-22T11:11:22.313" v="46" actId="20577"/>
          <ac:spMkLst>
            <pc:docMk/>
            <pc:sldMk cId="1515786070" sldId="395"/>
            <ac:spMk id="3" creationId="{49F4BE37-B37C-871D-AB7C-79FD9631797C}"/>
          </ac:spMkLst>
        </pc:spChg>
        <pc:spChg chg="add mod">
          <ac:chgData name="Koen Verbeeck" userId="24d0e79a7fd977da" providerId="LiveId" clId="{46B8FCBA-0CB6-49C2-A183-BEC02C0844F2}" dt="2022-11-22T11:24:13.477" v="101" actId="1076"/>
          <ac:spMkLst>
            <pc:docMk/>
            <pc:sldMk cId="1515786070" sldId="395"/>
            <ac:spMk id="9" creationId="{E9950220-5ACB-618E-3D88-BB3F92995171}"/>
          </ac:spMkLst>
        </pc:spChg>
        <pc:spChg chg="add mod">
          <ac:chgData name="Koen Verbeeck" userId="24d0e79a7fd977da" providerId="LiveId" clId="{46B8FCBA-0CB6-49C2-A183-BEC02C0844F2}" dt="2022-11-22T11:24:39.167" v="109" actId="20577"/>
          <ac:spMkLst>
            <pc:docMk/>
            <pc:sldMk cId="1515786070" sldId="395"/>
            <ac:spMk id="10" creationId="{8685A83A-D92B-3816-64F4-244AA9EBB52D}"/>
          </ac:spMkLst>
        </pc:spChg>
        <pc:spChg chg="add mod">
          <ac:chgData name="Koen Verbeeck" userId="24d0e79a7fd977da" providerId="LiveId" clId="{46B8FCBA-0CB6-49C2-A183-BEC02C0844F2}" dt="2022-11-22T11:25:30.345" v="167" actId="20577"/>
          <ac:spMkLst>
            <pc:docMk/>
            <pc:sldMk cId="1515786070" sldId="395"/>
            <ac:spMk id="11" creationId="{A5383D9E-69E0-5C63-5549-884C06AB04CE}"/>
          </ac:spMkLst>
        </pc:spChg>
        <pc:picChg chg="add mod modCrop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5" creationId="{7E19B506-B138-D958-2B77-30D85A43F01B}"/>
          </ac:picMkLst>
        </pc:picChg>
        <pc:picChg chg="add mod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7" creationId="{957D1B86-16BC-88E4-FE7F-D1256283EB88}"/>
          </ac:picMkLst>
        </pc:picChg>
        <pc:picChg chg="add mod modCrop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8" creationId="{1805D845-D970-E384-C00D-0D5031284555}"/>
          </ac:picMkLst>
        </pc:picChg>
      </pc:sldChg>
      <pc:sldChg chg="addSp modSp add mod modTransition modAnim">
        <pc:chgData name="Koen Verbeeck" userId="24d0e79a7fd977da" providerId="LiveId" clId="{46B8FCBA-0CB6-49C2-A183-BEC02C0844F2}" dt="2022-12-05T14:09:34.517" v="1524"/>
        <pc:sldMkLst>
          <pc:docMk/>
          <pc:sldMk cId="3346592182" sldId="396"/>
        </pc:sldMkLst>
        <pc:spChg chg="add mod">
          <ac:chgData name="Koen Verbeeck" userId="24d0e79a7fd977da" providerId="LiveId" clId="{46B8FCBA-0CB6-49C2-A183-BEC02C0844F2}" dt="2022-11-22T11:34:07.266" v="229" actId="1582"/>
          <ac:spMkLst>
            <pc:docMk/>
            <pc:sldMk cId="3346592182" sldId="396"/>
            <ac:spMk id="2" creationId="{74FBA93F-E8B7-101E-53CF-D3AACD0473D5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2957863109" sldId="397"/>
        </pc:sldMkLst>
        <pc:spChg chg="mod">
          <ac:chgData name="Koen Verbeeck" userId="24d0e79a7fd977da" providerId="LiveId" clId="{46B8FCBA-0CB6-49C2-A183-BEC02C0844F2}" dt="2022-11-22T11:35:12.441" v="237" actId="1037"/>
          <ac:spMkLst>
            <pc:docMk/>
            <pc:sldMk cId="2957863109" sldId="397"/>
            <ac:spMk id="2" creationId="{74FBA93F-E8B7-101E-53CF-D3AACD0473D5}"/>
          </ac:spMkLst>
        </pc:spChg>
      </pc:sldChg>
      <pc:sldChg chg="modSp new mod modTransition modAnim">
        <pc:chgData name="Koen Verbeeck" userId="24d0e79a7fd977da" providerId="LiveId" clId="{46B8FCBA-0CB6-49C2-A183-BEC02C0844F2}" dt="2022-12-05T14:09:34.517" v="1524"/>
        <pc:sldMkLst>
          <pc:docMk/>
          <pc:sldMk cId="2419946361" sldId="398"/>
        </pc:sldMkLst>
        <pc:spChg chg="mod">
          <ac:chgData name="Koen Verbeeck" userId="24d0e79a7fd977da" providerId="LiveId" clId="{46B8FCBA-0CB6-49C2-A183-BEC02C0844F2}" dt="2022-11-22T11:53:26.040" v="1034" actId="15"/>
          <ac:spMkLst>
            <pc:docMk/>
            <pc:sldMk cId="2419946361" sldId="398"/>
            <ac:spMk id="2" creationId="{72C5D6C2-6FF8-F35E-A255-B30F529B8207}"/>
          </ac:spMkLst>
        </pc:spChg>
        <pc:spChg chg="mod">
          <ac:chgData name="Koen Verbeeck" userId="24d0e79a7fd977da" providerId="LiveId" clId="{46B8FCBA-0CB6-49C2-A183-BEC02C0844F2}" dt="2022-11-22T11:35:53.104" v="257" actId="20577"/>
          <ac:spMkLst>
            <pc:docMk/>
            <pc:sldMk cId="2419946361" sldId="398"/>
            <ac:spMk id="3" creationId="{24451C35-9FCF-46DC-B521-9706C5A85875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3027212052" sldId="399"/>
        </pc:sldMkLst>
        <pc:spChg chg="mod">
          <ac:chgData name="Koen Verbeeck" userId="24d0e79a7fd977da" providerId="LiveId" clId="{46B8FCBA-0CB6-49C2-A183-BEC02C0844F2}" dt="2022-11-22T11:46:33.009" v="527" actId="1076"/>
          <ac:spMkLst>
            <pc:docMk/>
            <pc:sldMk cId="3027212052" sldId="399"/>
            <ac:spMk id="2" creationId="{74FBA93F-E8B7-101E-53CF-D3AACD0473D5}"/>
          </ac:spMkLst>
        </pc:spChg>
      </pc:sldChg>
      <pc:sldChg chg="addSp delSp modSp add mod modTransition modAnim">
        <pc:chgData name="Koen Verbeeck" userId="24d0e79a7fd977da" providerId="LiveId" clId="{46B8FCBA-0CB6-49C2-A183-BEC02C0844F2}" dt="2022-12-05T14:09:34.517" v="1524"/>
        <pc:sldMkLst>
          <pc:docMk/>
          <pc:sldMk cId="1461423898" sldId="400"/>
        </pc:sldMkLst>
        <pc:spChg chg="mod">
          <ac:chgData name="Koen Verbeeck" userId="24d0e79a7fd977da" providerId="LiveId" clId="{46B8FCBA-0CB6-49C2-A183-BEC02C0844F2}" dt="2022-11-22T12:08:33.761" v="1466" actId="20577"/>
          <ac:spMkLst>
            <pc:docMk/>
            <pc:sldMk cId="1461423898" sldId="400"/>
            <ac:spMk id="2" creationId="{72C5D6C2-6FF8-F35E-A255-B30F529B8207}"/>
          </ac:spMkLst>
        </pc:spChg>
        <pc:spChg chg="add del mod">
          <ac:chgData name="Koen Verbeeck" userId="24d0e79a7fd977da" providerId="LiveId" clId="{46B8FCBA-0CB6-49C2-A183-BEC02C0844F2}" dt="2022-11-22T11:57:07.454" v="1130" actId="22"/>
          <ac:spMkLst>
            <pc:docMk/>
            <pc:sldMk cId="1461423898" sldId="400"/>
            <ac:spMk id="5" creationId="{27321D2D-8033-E21F-A9B8-004AE04D8AE7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3084679659" sldId="401"/>
        </pc:sldMkLst>
        <pc:spChg chg="mod">
          <ac:chgData name="Koen Verbeeck" userId="24d0e79a7fd977da" providerId="LiveId" clId="{46B8FCBA-0CB6-49C2-A183-BEC02C0844F2}" dt="2022-11-22T11:56:17.567" v="1124" actId="5793"/>
          <ac:spMkLst>
            <pc:docMk/>
            <pc:sldMk cId="3084679659" sldId="401"/>
            <ac:spMk id="6" creationId="{BEA8E630-9C7A-6FE5-70CD-B940ACE099B8}"/>
          </ac:spMkLst>
        </pc:spChg>
      </pc:sldChg>
      <pc:sldChg chg="modSp add modTransition modAnim">
        <pc:chgData name="Koen Verbeeck" userId="24d0e79a7fd977da" providerId="LiveId" clId="{46B8FCBA-0CB6-49C2-A183-BEC02C0844F2}" dt="2022-12-05T14:11:26.359" v="1583" actId="20577"/>
        <pc:sldMkLst>
          <pc:docMk/>
          <pc:sldMk cId="3445497706" sldId="402"/>
        </pc:sldMkLst>
        <pc:spChg chg="mod">
          <ac:chgData name="Koen Verbeeck" userId="24d0e79a7fd977da" providerId="LiveId" clId="{46B8FCBA-0CB6-49C2-A183-BEC02C0844F2}" dt="2022-12-05T14:11:26.359" v="1583" actId="20577"/>
          <ac:spMkLst>
            <pc:docMk/>
            <pc:sldMk cId="3445497706" sldId="402"/>
            <ac:spMk id="2" creationId="{72C5D6C2-6FF8-F35E-A255-B30F529B8207}"/>
          </ac:spMkLst>
        </pc:spChg>
      </pc:sldChg>
      <pc:sldChg chg="new del">
        <pc:chgData name="Koen Verbeeck" userId="24d0e79a7fd977da" providerId="LiveId" clId="{46B8FCBA-0CB6-49C2-A183-BEC02C0844F2}" dt="2022-11-22T11:57:02.370" v="1126" actId="680"/>
        <pc:sldMkLst>
          <pc:docMk/>
          <pc:sldMk cId="3539398761" sldId="402"/>
        </pc:sldMkLst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1395989392" sldId="403"/>
        </pc:sldMkLst>
        <pc:spChg chg="mod">
          <ac:chgData name="Koen Verbeeck" userId="24d0e79a7fd977da" providerId="LiveId" clId="{46B8FCBA-0CB6-49C2-A183-BEC02C0844F2}" dt="2022-11-22T12:00:11.879" v="1432" actId="27636"/>
          <ac:spMkLst>
            <pc:docMk/>
            <pc:sldMk cId="1395989392" sldId="403"/>
            <ac:spMk id="4" creationId="{BA66A9FB-463B-9E25-ED20-D36959E12FD0}"/>
          </ac:spMkLst>
        </pc:spChg>
      </pc:sldChg>
      <pc:sldChg chg="modSp new del mod">
        <pc:chgData name="Koen Verbeeck" userId="24d0e79a7fd977da" providerId="LiveId" clId="{46B8FCBA-0CB6-49C2-A183-BEC02C0844F2}" dt="2022-12-05T14:09:29.970" v="1523" actId="47"/>
        <pc:sldMkLst>
          <pc:docMk/>
          <pc:sldMk cId="1233624470" sldId="404"/>
        </pc:sldMkLst>
        <pc:spChg chg="mod">
          <ac:chgData name="Koen Verbeeck" userId="24d0e79a7fd977da" providerId="LiveId" clId="{46B8FCBA-0CB6-49C2-A183-BEC02C0844F2}" dt="2022-12-05T14:09:26.967" v="1522" actId="20577"/>
          <ac:spMkLst>
            <pc:docMk/>
            <pc:sldMk cId="1233624470" sldId="404"/>
            <ac:spMk id="2" creationId="{556F39D7-AD5F-7344-B130-90F0D630C372}"/>
          </ac:spMkLst>
        </pc:spChg>
        <pc:spChg chg="mod">
          <ac:chgData name="Koen Verbeeck" userId="24d0e79a7fd977da" providerId="LiveId" clId="{46B8FCBA-0CB6-49C2-A183-BEC02C0844F2}" dt="2022-12-05T14:09:18.019" v="1490" actId="20577"/>
          <ac:spMkLst>
            <pc:docMk/>
            <pc:sldMk cId="1233624470" sldId="404"/>
            <ac:spMk id="3" creationId="{4F907125-DD72-DC40-FA38-CD317C98C5BB}"/>
          </ac:spMkLst>
        </pc:spChg>
      </pc:sldChg>
      <pc:sldMasterChg chg="del delSldLayout">
        <pc:chgData name="Koen Verbeeck" userId="24d0e79a7fd977da" providerId="LiveId" clId="{46B8FCBA-0CB6-49C2-A183-BEC02C0844F2}" dt="2022-11-22T11:10:06.081" v="36" actId="2696"/>
        <pc:sldMasterMkLst>
          <pc:docMk/>
          <pc:sldMasterMk cId="816635002" sldId="2147483660"/>
        </pc:sldMasterMkLst>
        <pc:sldLayoutChg chg="del">
          <pc:chgData name="Koen Verbeeck" userId="24d0e79a7fd977da" providerId="LiveId" clId="{46B8FCBA-0CB6-49C2-A183-BEC02C0844F2}" dt="2022-11-22T11:10:00.513" v="15" actId="2696"/>
          <pc:sldLayoutMkLst>
            <pc:docMk/>
            <pc:sldMasterMk cId="816635002" sldId="2147483660"/>
            <pc:sldLayoutMk cId="1619233163" sldId="2147483661"/>
          </pc:sldLayoutMkLst>
        </pc:sldLayoutChg>
        <pc:sldLayoutChg chg="del">
          <pc:chgData name="Koen Verbeeck" userId="24d0e79a7fd977da" providerId="LiveId" clId="{46B8FCBA-0CB6-49C2-A183-BEC02C0844F2}" dt="2022-11-22T11:10:00.568" v="16" actId="2696"/>
          <pc:sldLayoutMkLst>
            <pc:docMk/>
            <pc:sldMasterMk cId="816635002" sldId="2147483660"/>
            <pc:sldLayoutMk cId="526350820" sldId="2147483662"/>
          </pc:sldLayoutMkLst>
        </pc:sldLayoutChg>
        <pc:sldLayoutChg chg="del">
          <pc:chgData name="Koen Verbeeck" userId="24d0e79a7fd977da" providerId="LiveId" clId="{46B8FCBA-0CB6-49C2-A183-BEC02C0844F2}" dt="2022-11-22T11:10:00.627" v="17" actId="2696"/>
          <pc:sldLayoutMkLst>
            <pc:docMk/>
            <pc:sldMasterMk cId="816635002" sldId="2147483660"/>
            <pc:sldLayoutMk cId="1160525197" sldId="2147483663"/>
          </pc:sldLayoutMkLst>
        </pc:sldLayoutChg>
        <pc:sldLayoutChg chg="del">
          <pc:chgData name="Koen Verbeeck" userId="24d0e79a7fd977da" providerId="LiveId" clId="{46B8FCBA-0CB6-49C2-A183-BEC02C0844F2}" dt="2022-11-22T11:10:00.691" v="18" actId="2696"/>
          <pc:sldLayoutMkLst>
            <pc:docMk/>
            <pc:sldMasterMk cId="816635002" sldId="2147483660"/>
            <pc:sldLayoutMk cId="634648184" sldId="2147483664"/>
          </pc:sldLayoutMkLst>
        </pc:sldLayoutChg>
        <pc:sldLayoutChg chg="del">
          <pc:chgData name="Koen Verbeeck" userId="24d0e79a7fd977da" providerId="LiveId" clId="{46B8FCBA-0CB6-49C2-A183-BEC02C0844F2}" dt="2022-11-22T11:10:00.750" v="19" actId="2696"/>
          <pc:sldLayoutMkLst>
            <pc:docMk/>
            <pc:sldMasterMk cId="816635002" sldId="2147483660"/>
            <pc:sldLayoutMk cId="4229889116" sldId="2147483665"/>
          </pc:sldLayoutMkLst>
        </pc:sldLayoutChg>
        <pc:sldLayoutChg chg="del">
          <pc:chgData name="Koen Verbeeck" userId="24d0e79a7fd977da" providerId="LiveId" clId="{46B8FCBA-0CB6-49C2-A183-BEC02C0844F2}" dt="2022-11-22T11:10:00.809" v="20" actId="2696"/>
          <pc:sldLayoutMkLst>
            <pc:docMk/>
            <pc:sldMasterMk cId="816635002" sldId="2147483660"/>
            <pc:sldLayoutMk cId="3890859889" sldId="2147483666"/>
          </pc:sldLayoutMkLst>
        </pc:sldLayoutChg>
        <pc:sldLayoutChg chg="del">
          <pc:chgData name="Koen Verbeeck" userId="24d0e79a7fd977da" providerId="LiveId" clId="{46B8FCBA-0CB6-49C2-A183-BEC02C0844F2}" dt="2022-11-22T11:10:00.815" v="21" actId="2696"/>
          <pc:sldLayoutMkLst>
            <pc:docMk/>
            <pc:sldMasterMk cId="816635002" sldId="2147483660"/>
            <pc:sldLayoutMk cId="256777600" sldId="2147483667"/>
          </pc:sldLayoutMkLst>
        </pc:sldLayoutChg>
        <pc:sldLayoutChg chg="del">
          <pc:chgData name="Koen Verbeeck" userId="24d0e79a7fd977da" providerId="LiveId" clId="{46B8FCBA-0CB6-49C2-A183-BEC02C0844F2}" dt="2022-11-22T11:10:00.823" v="22" actId="2696"/>
          <pc:sldLayoutMkLst>
            <pc:docMk/>
            <pc:sldMasterMk cId="816635002" sldId="2147483660"/>
            <pc:sldLayoutMk cId="3329871875" sldId="2147483668"/>
          </pc:sldLayoutMkLst>
        </pc:sldLayoutChg>
        <pc:sldLayoutChg chg="del">
          <pc:chgData name="Koen Verbeeck" userId="24d0e79a7fd977da" providerId="LiveId" clId="{46B8FCBA-0CB6-49C2-A183-BEC02C0844F2}" dt="2022-11-22T11:10:00.828" v="23" actId="2696"/>
          <pc:sldLayoutMkLst>
            <pc:docMk/>
            <pc:sldMasterMk cId="816635002" sldId="2147483660"/>
            <pc:sldLayoutMk cId="2107234909" sldId="2147483669"/>
          </pc:sldLayoutMkLst>
        </pc:sldLayoutChg>
        <pc:sldLayoutChg chg="del">
          <pc:chgData name="Koen Verbeeck" userId="24d0e79a7fd977da" providerId="LiveId" clId="{46B8FCBA-0CB6-49C2-A183-BEC02C0844F2}" dt="2022-11-22T11:10:00.832" v="24" actId="2696"/>
          <pc:sldLayoutMkLst>
            <pc:docMk/>
            <pc:sldMasterMk cId="816635002" sldId="2147483660"/>
            <pc:sldLayoutMk cId="1836981881" sldId="2147483670"/>
          </pc:sldLayoutMkLst>
        </pc:sldLayoutChg>
        <pc:sldLayoutChg chg="del">
          <pc:chgData name="Koen Verbeeck" userId="24d0e79a7fd977da" providerId="LiveId" clId="{46B8FCBA-0CB6-49C2-A183-BEC02C0844F2}" dt="2022-11-22T11:10:00.888" v="25" actId="2696"/>
          <pc:sldLayoutMkLst>
            <pc:docMk/>
            <pc:sldMasterMk cId="816635002" sldId="2147483660"/>
            <pc:sldLayoutMk cId="1960534231" sldId="2147483671"/>
          </pc:sldLayoutMkLst>
        </pc:sldLayoutChg>
        <pc:sldLayoutChg chg="del">
          <pc:chgData name="Koen Verbeeck" userId="24d0e79a7fd977da" providerId="LiveId" clId="{46B8FCBA-0CB6-49C2-A183-BEC02C0844F2}" dt="2022-11-22T11:10:00.947" v="26" actId="2696"/>
          <pc:sldLayoutMkLst>
            <pc:docMk/>
            <pc:sldMasterMk cId="816635002" sldId="2147483660"/>
            <pc:sldLayoutMk cId="419889745" sldId="2147483672"/>
          </pc:sldLayoutMkLst>
        </pc:sldLayoutChg>
        <pc:sldLayoutChg chg="del">
          <pc:chgData name="Koen Verbeeck" userId="24d0e79a7fd977da" providerId="LiveId" clId="{46B8FCBA-0CB6-49C2-A183-BEC02C0844F2}" dt="2022-11-22T11:10:01.003" v="27" actId="2696"/>
          <pc:sldLayoutMkLst>
            <pc:docMk/>
            <pc:sldMasterMk cId="816635002" sldId="2147483660"/>
            <pc:sldLayoutMk cId="2232765603" sldId="2147483673"/>
          </pc:sldLayoutMkLst>
        </pc:sldLayoutChg>
        <pc:sldLayoutChg chg="del">
          <pc:chgData name="Koen Verbeeck" userId="24d0e79a7fd977da" providerId="LiveId" clId="{46B8FCBA-0CB6-49C2-A183-BEC02C0844F2}" dt="2022-11-22T11:10:01.055" v="28" actId="2696"/>
          <pc:sldLayoutMkLst>
            <pc:docMk/>
            <pc:sldMasterMk cId="816635002" sldId="2147483660"/>
            <pc:sldLayoutMk cId="3708004356" sldId="2147483674"/>
          </pc:sldLayoutMkLst>
        </pc:sldLayoutChg>
        <pc:sldLayoutChg chg="del">
          <pc:chgData name="Koen Verbeeck" userId="24d0e79a7fd977da" providerId="LiveId" clId="{46B8FCBA-0CB6-49C2-A183-BEC02C0844F2}" dt="2022-11-22T11:10:01.112" v="29" actId="2696"/>
          <pc:sldLayoutMkLst>
            <pc:docMk/>
            <pc:sldMasterMk cId="816635002" sldId="2147483660"/>
            <pc:sldLayoutMk cId="3441464889" sldId="2147483675"/>
          </pc:sldLayoutMkLst>
        </pc:sldLayoutChg>
        <pc:sldLayoutChg chg="del">
          <pc:chgData name="Koen Verbeeck" userId="24d0e79a7fd977da" providerId="LiveId" clId="{46B8FCBA-0CB6-49C2-A183-BEC02C0844F2}" dt="2022-11-22T11:10:01.165" v="30" actId="2696"/>
          <pc:sldLayoutMkLst>
            <pc:docMk/>
            <pc:sldMasterMk cId="816635002" sldId="2147483660"/>
            <pc:sldLayoutMk cId="2548430219" sldId="2147483676"/>
          </pc:sldLayoutMkLst>
        </pc:sldLayoutChg>
        <pc:sldLayoutChg chg="del">
          <pc:chgData name="Koen Verbeeck" userId="24d0e79a7fd977da" providerId="LiveId" clId="{46B8FCBA-0CB6-49C2-A183-BEC02C0844F2}" dt="2022-11-22T11:10:01.219" v="31" actId="2696"/>
          <pc:sldLayoutMkLst>
            <pc:docMk/>
            <pc:sldMasterMk cId="816635002" sldId="2147483660"/>
            <pc:sldLayoutMk cId="3596405616" sldId="2147483677"/>
          </pc:sldLayoutMkLst>
        </pc:sldLayoutChg>
        <pc:sldLayoutChg chg="del">
          <pc:chgData name="Koen Verbeeck" userId="24d0e79a7fd977da" providerId="LiveId" clId="{46B8FCBA-0CB6-49C2-A183-BEC02C0844F2}" dt="2022-11-22T11:10:01.298" v="32" actId="2696"/>
          <pc:sldLayoutMkLst>
            <pc:docMk/>
            <pc:sldMasterMk cId="816635002" sldId="2147483660"/>
            <pc:sldLayoutMk cId="3353232887" sldId="2147483678"/>
          </pc:sldLayoutMkLst>
        </pc:sldLayoutChg>
        <pc:sldLayoutChg chg="del">
          <pc:chgData name="Koen Verbeeck" userId="24d0e79a7fd977da" providerId="LiveId" clId="{46B8FCBA-0CB6-49C2-A183-BEC02C0844F2}" dt="2022-11-22T11:10:01.300" v="33" actId="2696"/>
          <pc:sldLayoutMkLst>
            <pc:docMk/>
            <pc:sldMasterMk cId="816635002" sldId="2147483660"/>
            <pc:sldLayoutMk cId="2169060190" sldId="2147483679"/>
          </pc:sldLayoutMkLst>
        </pc:sldLayoutChg>
        <pc:sldLayoutChg chg="del">
          <pc:chgData name="Koen Verbeeck" userId="24d0e79a7fd977da" providerId="LiveId" clId="{46B8FCBA-0CB6-49C2-A183-BEC02C0844F2}" dt="2022-11-22T11:10:01.301" v="34" actId="2696"/>
          <pc:sldLayoutMkLst>
            <pc:docMk/>
            <pc:sldMasterMk cId="816635002" sldId="2147483660"/>
            <pc:sldLayoutMk cId="2422901824" sldId="2147483680"/>
          </pc:sldLayoutMkLst>
        </pc:sldLayoutChg>
        <pc:sldLayoutChg chg="del">
          <pc:chgData name="Koen Verbeeck" userId="24d0e79a7fd977da" providerId="LiveId" clId="{46B8FCBA-0CB6-49C2-A183-BEC02C0844F2}" dt="2022-11-22T11:10:01.302" v="35" actId="2696"/>
          <pc:sldLayoutMkLst>
            <pc:docMk/>
            <pc:sldMasterMk cId="816635002" sldId="2147483660"/>
            <pc:sldLayoutMk cId="3656387443" sldId="2147483681"/>
          </pc:sldLayoutMkLst>
        </pc:sldLayoutChg>
        <pc:sldLayoutChg chg="del">
          <pc:chgData name="Koen Verbeeck" userId="24d0e79a7fd977da" providerId="LiveId" clId="{46B8FCBA-0CB6-49C2-A183-BEC02C0844F2}" dt="2022-11-22T11:10:00.346" v="14" actId="2696"/>
          <pc:sldLayoutMkLst>
            <pc:docMk/>
            <pc:sldMasterMk cId="816635002" sldId="2147483660"/>
            <pc:sldLayoutMk cId="1199027643" sldId="2147483682"/>
          </pc:sldLayoutMkLst>
        </pc:sldLayoutChg>
      </pc:sldMasterChg>
      <pc:sldMasterChg chg="modSldLayout">
        <pc:chgData name="Koen Verbeeck" userId="24d0e79a7fd977da" providerId="LiveId" clId="{46B8FCBA-0CB6-49C2-A183-BEC02C0844F2}" dt="2022-11-22T11:38:15.994" v="299" actId="14100"/>
        <pc:sldMasterMkLst>
          <pc:docMk/>
          <pc:sldMasterMk cId="1201240828" sldId="2147483683"/>
        </pc:sldMasterMkLst>
        <pc:sldLayoutChg chg="modSp mod">
          <pc:chgData name="Koen Verbeeck" userId="24d0e79a7fd977da" providerId="LiveId" clId="{46B8FCBA-0CB6-49C2-A183-BEC02C0844F2}" dt="2022-11-22T11:38:15.994" v="299" actId="14100"/>
          <pc:sldLayoutMkLst>
            <pc:docMk/>
            <pc:sldMasterMk cId="1201240828" sldId="2147483683"/>
            <pc:sldLayoutMk cId="643094023" sldId="2147483725"/>
          </pc:sldLayoutMkLst>
          <pc:spChg chg="mod">
            <ac:chgData name="Koen Verbeeck" userId="24d0e79a7fd977da" providerId="LiveId" clId="{46B8FCBA-0CB6-49C2-A183-BEC02C0844F2}" dt="2022-11-22T11:38:15.994" v="299" actId="14100"/>
            <ac:spMkLst>
              <pc:docMk/>
              <pc:sldMasterMk cId="1201240828" sldId="2147483683"/>
              <pc:sldLayoutMk cId="643094023" sldId="2147483725"/>
              <ac:spMk id="8" creationId="{C85B63D6-D71F-A240-AA5E-4A141103753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5/01/2024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6325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ure SQL DB, managed instance or Azure F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320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2249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3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19181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8540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19651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25681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167149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50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3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52" Type="http://schemas.openxmlformats.org/officeDocument/2006/relationships/image" Target="../media/image6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8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32" imgH="530" progId="TCLayout.ActiveDocument.1">
                  <p:embed/>
                </p:oleObj>
              </mc:Choice>
              <mc:Fallback>
                <p:oleObj name="think-cell Slide" r:id="rId46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  <p:sldLayoutId id="2147483727" r:id="rId42"/>
    <p:sldLayoutId id="2147483728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ssqltips.com/sql-server-video/761/migrating-sql-server-integration-services-to-the-cloud/" TargetMode="External"/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6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thrinewilhelmsen.net/series/beginners-guide-azure-data-factory/" TargetMode="External"/><Relationship Id="rId2" Type="http://schemas.openxmlformats.org/officeDocument/2006/relationships/hyperlink" Target="https://www.mssqltips.com/sqlservertutorial/9392/introduction-to-azure-data-factory/" TargetMode="Externa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4.jp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dynamic-datasets-in-azure-data-factory/" TargetMode="External"/><Relationship Id="rId1" Type="http://schemas.openxmlformats.org/officeDocument/2006/relationships/slideLayout" Target="../slideLayouts/slideLayout40.xml"/><Relationship Id="rId5" Type="http://schemas.openxmlformats.org/officeDocument/2006/relationships/hyperlink" Target="https://www.mssqltips.com/sqlservertutorial/9392/introduction-to-azure-data-factory/" TargetMode="External"/><Relationship Id="rId4" Type="http://schemas.openxmlformats.org/officeDocument/2006/relationships/hyperlink" Target="https://www.cathrinewilhelmsen.net/series/beginners-guide-azure-data-factory/" TargetMode="Externa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igrate your SSIS skills to ADF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4EE3576-AD0E-463D-8D76-F6D62A36B0CA}"/>
              </a:ext>
            </a:extLst>
          </p:cNvPr>
          <p:cNvSpPr/>
          <p:nvPr/>
        </p:nvSpPr>
        <p:spPr>
          <a:xfrm>
            <a:off x="8640034" y="313167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743D7A6-E556-4B3F-9273-AFA26241F5DD}"/>
              </a:ext>
            </a:extLst>
          </p:cNvPr>
          <p:cNvSpPr/>
          <p:nvPr/>
        </p:nvSpPr>
        <p:spPr>
          <a:xfrm>
            <a:off x="661087" y="285476"/>
            <a:ext cx="4009767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AB0C37-1992-4B9E-BCB3-78BA03496026}"/>
              </a:ext>
            </a:extLst>
          </p:cNvPr>
          <p:cNvCxnSpPr/>
          <p:nvPr/>
        </p:nvCxnSpPr>
        <p:spPr>
          <a:xfrm>
            <a:off x="111211" y="3632894"/>
            <a:ext cx="12080789" cy="0"/>
          </a:xfrm>
          <a:prstGeom prst="line">
            <a:avLst/>
          </a:prstGeom>
          <a:ln w="317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0FAACD1-8E07-4509-B298-E288013182FC}"/>
              </a:ext>
            </a:extLst>
          </p:cNvPr>
          <p:cNvSpPr txBox="1"/>
          <p:nvPr/>
        </p:nvSpPr>
        <p:spPr>
          <a:xfrm>
            <a:off x="111211" y="3138623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CE979-7DAB-43EC-B4C3-563748980269}"/>
              </a:ext>
            </a:extLst>
          </p:cNvPr>
          <p:cNvSpPr txBox="1"/>
          <p:nvPr/>
        </p:nvSpPr>
        <p:spPr>
          <a:xfrm>
            <a:off x="111211" y="3684377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On-premises</a:t>
            </a:r>
          </a:p>
        </p:txBody>
      </p:sp>
      <p:pic>
        <p:nvPicPr>
          <p:cNvPr id="3076" name="Picture 4" descr="Gerelateerde afbeelding">
            <a:extLst>
              <a:ext uri="{FF2B5EF4-FFF2-40B4-BE49-F238E27FC236}">
                <a16:creationId xmlns:a16="http://schemas.microsoft.com/office/drawing/2014/main" id="{CAFA37F9-FE22-477E-A8FA-DB6B61D86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619" y="4278406"/>
            <a:ext cx="1096576" cy="113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1CB4424-DDEB-4EBA-90FE-AA5920EBF923}"/>
              </a:ext>
            </a:extLst>
          </p:cNvPr>
          <p:cNvSpPr txBox="1"/>
          <p:nvPr/>
        </p:nvSpPr>
        <p:spPr>
          <a:xfrm>
            <a:off x="1930447" y="5392005"/>
            <a:ext cx="10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DT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652EC23-715B-4CB1-8DB6-7F0A252F98DF}"/>
              </a:ext>
            </a:extLst>
          </p:cNvPr>
          <p:cNvCxnSpPr/>
          <p:nvPr/>
        </p:nvCxnSpPr>
        <p:spPr>
          <a:xfrm>
            <a:off x="3311611" y="4843255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078" name="Picture 6" descr="Afbeeldingsresultaat voor sql server management studio logo">
            <a:extLst>
              <a:ext uri="{FF2B5EF4-FFF2-40B4-BE49-F238E27FC236}">
                <a16:creationId xmlns:a16="http://schemas.microsoft.com/office/drawing/2014/main" id="{E1808C1F-D725-4BB5-9797-402DE8AE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804" y="4290164"/>
            <a:ext cx="1111593" cy="113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4D0B219-D7B0-4969-B1B0-5F404B07447D}"/>
              </a:ext>
            </a:extLst>
          </p:cNvPr>
          <p:cNvSpPr txBox="1"/>
          <p:nvPr/>
        </p:nvSpPr>
        <p:spPr>
          <a:xfrm>
            <a:off x="9480466" y="5473217"/>
            <a:ext cx="10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M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573E2A9-53C7-4B28-A2B0-77A06D8EC998}"/>
              </a:ext>
            </a:extLst>
          </p:cNvPr>
          <p:cNvCxnSpPr/>
          <p:nvPr/>
        </p:nvCxnSpPr>
        <p:spPr>
          <a:xfrm>
            <a:off x="7035114" y="4861998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10659A2-F760-458D-AFF5-32274AD2379F}"/>
              </a:ext>
            </a:extLst>
          </p:cNvPr>
          <p:cNvSpPr txBox="1"/>
          <p:nvPr/>
        </p:nvSpPr>
        <p:spPr>
          <a:xfrm>
            <a:off x="3521676" y="4959869"/>
            <a:ext cx="1816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uthor &amp; deplo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376D61-3F22-4084-9191-C0BFFCA1F36A}"/>
              </a:ext>
            </a:extLst>
          </p:cNvPr>
          <p:cNvSpPr txBox="1"/>
          <p:nvPr/>
        </p:nvSpPr>
        <p:spPr>
          <a:xfrm>
            <a:off x="7078361" y="4959869"/>
            <a:ext cx="2026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nage &amp; schedule</a:t>
            </a:r>
          </a:p>
        </p:txBody>
      </p:sp>
      <p:pic>
        <p:nvPicPr>
          <p:cNvPr id="3080" name="Picture 8" descr="Afbeeldingsresultaat voor azure data factory v2">
            <a:extLst>
              <a:ext uri="{FF2B5EF4-FFF2-40B4-BE49-F238E27FC236}">
                <a16:creationId xmlns:a16="http://schemas.microsoft.com/office/drawing/2014/main" id="{E33A1C85-0040-4FBB-A6B6-1350961C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34" y="665059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B4C2A3-ADB8-4FD8-809A-A420C4F7EA7C}"/>
              </a:ext>
            </a:extLst>
          </p:cNvPr>
          <p:cNvSpPr txBox="1"/>
          <p:nvPr/>
        </p:nvSpPr>
        <p:spPr>
          <a:xfrm>
            <a:off x="1185221" y="2135211"/>
            <a:ext cx="755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D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5DBFC6-6C04-452C-88FC-3301ADD7EFDC}"/>
              </a:ext>
            </a:extLst>
          </p:cNvPr>
          <p:cNvSpPr txBox="1"/>
          <p:nvPr/>
        </p:nvSpPr>
        <p:spPr>
          <a:xfrm>
            <a:off x="2272919" y="656844"/>
            <a:ext cx="2287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ovisioning &amp; manageme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CAB36-AC83-4BA4-9F5C-A37319628748}"/>
              </a:ext>
            </a:extLst>
          </p:cNvPr>
          <p:cNvSpPr/>
          <p:nvPr/>
        </p:nvSpPr>
        <p:spPr>
          <a:xfrm>
            <a:off x="4997580" y="270031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9CB50F-48C3-4908-9F95-4AE7E06D0952}"/>
              </a:ext>
            </a:extLst>
          </p:cNvPr>
          <p:cNvSpPr txBox="1"/>
          <p:nvPr/>
        </p:nvSpPr>
        <p:spPr>
          <a:xfrm>
            <a:off x="10444293" y="841509"/>
            <a:ext cx="15114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 Fil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7563A6-1B29-461F-98B1-25F298C17359}"/>
              </a:ext>
            </a:extLst>
          </p:cNvPr>
          <p:cNvSpPr txBox="1"/>
          <p:nvPr/>
        </p:nvSpPr>
        <p:spPr>
          <a:xfrm>
            <a:off x="6599598" y="676281"/>
            <a:ext cx="17764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-SSIS IR (Azure Comput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AF0D5A9-CC1B-414A-B141-7D1678158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3991" y="751782"/>
            <a:ext cx="1345684" cy="1255304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1A2353E-3E09-4BBB-9AE6-EDCCF49B5188}"/>
              </a:ext>
            </a:extLst>
          </p:cNvPr>
          <p:cNvCxnSpPr>
            <a:cxnSpLocks/>
          </p:cNvCxnSpPr>
          <p:nvPr/>
        </p:nvCxnSpPr>
        <p:spPr>
          <a:xfrm flipV="1">
            <a:off x="3204519" y="2845837"/>
            <a:ext cx="5435515" cy="1506112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1BCEB2A-5E22-4D2E-A346-6F69DAF2FF37}"/>
              </a:ext>
            </a:extLst>
          </p:cNvPr>
          <p:cNvCxnSpPr>
            <a:cxnSpLocks/>
          </p:cNvCxnSpPr>
          <p:nvPr/>
        </p:nvCxnSpPr>
        <p:spPr>
          <a:xfrm flipH="1" flipV="1">
            <a:off x="9336821" y="2966221"/>
            <a:ext cx="481914" cy="114761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D5FF032-FFDF-4CA5-A969-933FB64D890D}"/>
              </a:ext>
            </a:extLst>
          </p:cNvPr>
          <p:cNvCxnSpPr/>
          <p:nvPr/>
        </p:nvCxnSpPr>
        <p:spPr>
          <a:xfrm>
            <a:off x="3416643" y="1808010"/>
            <a:ext cx="2026508" cy="0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77B4FB7-4D90-4FE4-861D-1FC24B6C2765}"/>
              </a:ext>
            </a:extLst>
          </p:cNvPr>
          <p:cNvCxnSpPr>
            <a:cxnSpLocks/>
          </p:cNvCxnSpPr>
          <p:nvPr/>
        </p:nvCxnSpPr>
        <p:spPr>
          <a:xfrm flipV="1">
            <a:off x="3416643" y="2320562"/>
            <a:ext cx="5438265" cy="5562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2050" name="Picture 2" descr="Storage - Files | Microsoft Azure Mono">
            <a:extLst>
              <a:ext uri="{FF2B5EF4-FFF2-40B4-BE49-F238E27FC236}">
                <a16:creationId xmlns:a16="http://schemas.microsoft.com/office/drawing/2014/main" id="{D3990EAD-1FAA-4643-8C12-C533CF089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946" y="4286725"/>
            <a:ext cx="1336588" cy="11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Storage - Files | Microsoft Azure Mono">
            <a:extLst>
              <a:ext uri="{FF2B5EF4-FFF2-40B4-BE49-F238E27FC236}">
                <a16:creationId xmlns:a16="http://schemas.microsoft.com/office/drawing/2014/main" id="{FB64EF65-735F-46BB-993A-6565D300A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520" y="806201"/>
            <a:ext cx="1336588" cy="11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393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7" grpId="0" animBg="1"/>
      <p:bldP spid="16" grpId="0"/>
      <p:bldP spid="21" grpId="0"/>
      <p:bldP spid="18" grpId="0"/>
      <p:bldP spid="27" grpId="0" animBg="1"/>
      <p:bldP spid="29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09A9D0-E47F-03CA-0BDA-38B5E93DA5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one of three Integration Runtimes</a:t>
            </a:r>
          </a:p>
          <a:p>
            <a:pPr lvl="1"/>
            <a:r>
              <a:rPr lang="en-US" sz="2800" dirty="0"/>
              <a:t>Azure IR – data movement &amp; activity dispatch</a:t>
            </a:r>
          </a:p>
          <a:p>
            <a:pPr lvl="1"/>
            <a:r>
              <a:rPr lang="en-US" sz="2800" dirty="0"/>
              <a:t>Self-hosted IR – data management gateway</a:t>
            </a:r>
          </a:p>
          <a:p>
            <a:pPr lvl="1"/>
            <a:r>
              <a:rPr lang="en-US" sz="2800" dirty="0"/>
              <a:t>Azure-SSIS IR – lift &amp; shift of SSIS projects</a:t>
            </a:r>
          </a:p>
          <a:p>
            <a:pPr lvl="1"/>
            <a:endParaRPr lang="en-US" sz="2800" dirty="0"/>
          </a:p>
          <a:p>
            <a:r>
              <a:rPr lang="en-US" sz="3200" dirty="0"/>
              <a:t>“SSIS scale-out cluster on VMs in the cloud”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028B79-B5C6-260B-F29C-7FDEACAE0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-SSIS I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90461B-4C36-AE47-40B0-DD79D26E17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1390" y="1548585"/>
            <a:ext cx="2015802" cy="188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B13BD23-DA07-8CD2-F6F9-47A4984D61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000C31-0CEF-FB22-A805-C2758FA90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BD6903-80D4-4AE2-43CE-B775542BD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5027" y="0"/>
            <a:ext cx="64988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65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the SSIS catalog in Azure SQL DB">
            <a:extLst>
              <a:ext uri="{FF2B5EF4-FFF2-40B4-BE49-F238E27FC236}">
                <a16:creationId xmlns:a16="http://schemas.microsoft.com/office/drawing/2014/main" id="{0B10AE09-2532-7B53-3239-4E9753AD0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906" y="649480"/>
            <a:ext cx="7715622" cy="210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enter server name">
            <a:extLst>
              <a:ext uri="{FF2B5EF4-FFF2-40B4-BE49-F238E27FC236}">
                <a16:creationId xmlns:a16="http://schemas.microsoft.com/office/drawing/2014/main" id="{A358FBB7-1517-C3AC-1D7A-B3AFBE4DA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478" y="2945165"/>
            <a:ext cx="7440404" cy="341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76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29D1A2-B9E4-4C8C-918E-5AA49DF4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flo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DDC1257-A779-4E19-B70F-318845E6F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409" y="1746293"/>
            <a:ext cx="11576284" cy="25858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17D614A-EE14-4DAC-8829-7E3578A591D9}"/>
              </a:ext>
            </a:extLst>
          </p:cNvPr>
          <p:cNvCxnSpPr>
            <a:cxnSpLocks/>
          </p:cNvCxnSpPr>
          <p:nvPr/>
        </p:nvCxnSpPr>
        <p:spPr>
          <a:xfrm flipV="1">
            <a:off x="1285103" y="1746293"/>
            <a:ext cx="4559643" cy="1885999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3373A9A-2D24-4EB4-AB92-DB8F598B5B4A}"/>
              </a:ext>
            </a:extLst>
          </p:cNvPr>
          <p:cNvCxnSpPr>
            <a:cxnSpLocks/>
          </p:cNvCxnSpPr>
          <p:nvPr/>
        </p:nvCxnSpPr>
        <p:spPr>
          <a:xfrm flipH="1" flipV="1">
            <a:off x="7030995" y="1710290"/>
            <a:ext cx="2137720" cy="87227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F378019-5E43-4DA5-9E61-B963BFDEDAD6}"/>
              </a:ext>
            </a:extLst>
          </p:cNvPr>
          <p:cNvSpPr txBox="1"/>
          <p:nvPr/>
        </p:nvSpPr>
        <p:spPr>
          <a:xfrm>
            <a:off x="5002426" y="1123302"/>
            <a:ext cx="416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automatically start/stop I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7CF386F-7D78-4B1D-AECF-55DF4CADE2A2}"/>
              </a:ext>
            </a:extLst>
          </p:cNvPr>
          <p:cNvCxnSpPr>
            <a:cxnSpLocks/>
          </p:cNvCxnSpPr>
          <p:nvPr/>
        </p:nvCxnSpPr>
        <p:spPr>
          <a:xfrm>
            <a:off x="4238367" y="4142242"/>
            <a:ext cx="102974" cy="435276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2B499BB-29BF-44BE-811E-53C86B4A740D}"/>
              </a:ext>
            </a:extLst>
          </p:cNvPr>
          <p:cNvSpPr txBox="1"/>
          <p:nvPr/>
        </p:nvSpPr>
        <p:spPr>
          <a:xfrm>
            <a:off x="3735859" y="4577518"/>
            <a:ext cx="18246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coffee time!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4276D71-7D85-4117-8934-AC58C9B6212E}"/>
              </a:ext>
            </a:extLst>
          </p:cNvPr>
          <p:cNvCxnSpPr>
            <a:cxnSpLocks/>
          </p:cNvCxnSpPr>
          <p:nvPr/>
        </p:nvCxnSpPr>
        <p:spPr>
          <a:xfrm flipH="1">
            <a:off x="2372497" y="4142242"/>
            <a:ext cx="251253" cy="49478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D5A2266-F935-4E13-B363-13E08746BF8B}"/>
              </a:ext>
            </a:extLst>
          </p:cNvPr>
          <p:cNvSpPr txBox="1"/>
          <p:nvPr/>
        </p:nvSpPr>
        <p:spPr>
          <a:xfrm>
            <a:off x="1145059" y="4637022"/>
            <a:ext cx="24878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do non-SSIS stuff while IR is starting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DE66515-5CEE-47C0-88B9-037B9A058FF6}"/>
              </a:ext>
            </a:extLst>
          </p:cNvPr>
          <p:cNvCxnSpPr>
            <a:cxnSpLocks/>
          </p:cNvCxnSpPr>
          <p:nvPr/>
        </p:nvCxnSpPr>
        <p:spPr>
          <a:xfrm>
            <a:off x="7850661" y="3266304"/>
            <a:ext cx="1033847" cy="1182128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D39D34-4A34-410C-85A7-D51847EE2A01}"/>
              </a:ext>
            </a:extLst>
          </p:cNvPr>
          <p:cNvCxnSpPr>
            <a:cxnSpLocks/>
          </p:cNvCxnSpPr>
          <p:nvPr/>
        </p:nvCxnSpPr>
        <p:spPr>
          <a:xfrm>
            <a:off x="6347256" y="4024730"/>
            <a:ext cx="2020328" cy="552788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D7C4CC5-8C74-4500-8B4A-4A2A2D08F5B6}"/>
              </a:ext>
            </a:extLst>
          </p:cNvPr>
          <p:cNvSpPr txBox="1"/>
          <p:nvPr/>
        </p:nvSpPr>
        <p:spPr>
          <a:xfrm>
            <a:off x="7634416" y="4626795"/>
            <a:ext cx="3719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run SSIS packages</a:t>
            </a:r>
          </a:p>
        </p:txBody>
      </p:sp>
    </p:spTree>
    <p:extLst>
      <p:ext uri="{BB962C8B-B14F-4D97-AF65-F5344CB8AC3E}">
        <p14:creationId xmlns:p14="http://schemas.microsoft.com/office/powerpoint/2010/main" val="404276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7" grpId="0"/>
      <p:bldP spid="2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693490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hoose location of the SSISDB</a:t>
            </a:r>
          </a:p>
        </p:txBody>
      </p:sp>
      <p:pic>
        <p:nvPicPr>
          <p:cNvPr id="5122" name="Picture 2" descr="specify details for SQL Server">
            <a:extLst>
              <a:ext uri="{FF2B5EF4-FFF2-40B4-BE49-F238E27FC236}">
                <a16:creationId xmlns:a16="http://schemas.microsoft.com/office/drawing/2014/main" id="{FFF3F6EB-EE88-43A3-A96A-4CBB34C7F3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881" y="0"/>
            <a:ext cx="3814119" cy="687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08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4" y="3657599"/>
            <a:ext cx="4878377" cy="2854411"/>
          </a:xfrm>
        </p:spPr>
        <p:txBody>
          <a:bodyPr>
            <a:normAutofit/>
          </a:bodyPr>
          <a:lstStyle/>
          <a:p>
            <a:r>
              <a:rPr lang="en-US" sz="2800" dirty="0"/>
              <a:t>Add some PowerShell cmdlets to your machine and create an ADF v2 instance </a:t>
            </a:r>
          </a:p>
        </p:txBody>
      </p:sp>
      <p:pic>
        <p:nvPicPr>
          <p:cNvPr id="6146" name="Picture 2" descr="configure data factory">
            <a:extLst>
              <a:ext uri="{FF2B5EF4-FFF2-40B4-BE49-F238E27FC236}">
                <a16:creationId xmlns:a16="http://schemas.microsoft.com/office/drawing/2014/main" id="{C140A554-A1E3-4A34-A879-D475A3A5F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933" y="-30892"/>
            <a:ext cx="6003177" cy="6888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56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26862" cy="1371600"/>
          </a:xfrm>
        </p:spPr>
        <p:txBody>
          <a:bodyPr>
            <a:normAutofit/>
          </a:bodyPr>
          <a:lstStyle/>
          <a:p>
            <a:r>
              <a:rPr lang="en-US" sz="2800" dirty="0"/>
              <a:t>Choose the Azure-SSIS node s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11D323-26D0-4DAC-80E9-BF6E9D6FFF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3147" y="0"/>
            <a:ext cx="64988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1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26862" cy="1371600"/>
          </a:xfrm>
        </p:spPr>
        <p:txBody>
          <a:bodyPr>
            <a:normAutofit/>
          </a:bodyPr>
          <a:lstStyle/>
          <a:p>
            <a:r>
              <a:rPr lang="en-US" sz="2800" dirty="0"/>
              <a:t>Choose where to store your packag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BD101E-B916-426A-AC26-38BAF8625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8700" y="668329"/>
            <a:ext cx="7353300" cy="237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35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26" name="Picture 2" descr="Duvel Beer Glass | Roberts &amp; Speight Wine Merchants &amp; Delicatessen">
            <a:extLst>
              <a:ext uri="{FF2B5EF4-FFF2-40B4-BE49-F238E27FC236}">
                <a16:creationId xmlns:a16="http://schemas.microsoft.com/office/drawing/2014/main" id="{5EC29D78-2384-45FC-B6AF-C98114F5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339" y="990899"/>
            <a:ext cx="2367661" cy="42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419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82090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75563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832243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378849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386264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2" name="Picture Placeholder 17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68A38636-157E-14A7-9AB4-8E77CB3F28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" b="293"/>
          <a:stretch>
            <a:fillRect/>
          </a:stretch>
        </p:blipFill>
        <p:spPr>
          <a:xfrm>
            <a:off x="7946023" y="256627"/>
            <a:ext cx="1685405" cy="168540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5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85C0ED-C30B-40F8-AA20-D5630416083A}"/>
              </a:ext>
            </a:extLst>
          </p:cNvPr>
          <p:cNvSpPr>
            <a:spLocks noGrp="1"/>
          </p:cNvSpPr>
          <p:nvPr>
            <p:ph type="pic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nfigure connection to SQL Server</a:t>
            </a:r>
          </a:p>
        </p:txBody>
      </p:sp>
      <p:pic>
        <p:nvPicPr>
          <p:cNvPr id="8194" name="Picture 2" descr="https://www.mssqltips.com/tipimages2/5687_configure-an-azure-sql-server-integration-services-runtime.011.png">
            <a:extLst>
              <a:ext uri="{FF2B5EF4-FFF2-40B4-BE49-F238E27FC236}">
                <a16:creationId xmlns:a16="http://schemas.microsoft.com/office/drawing/2014/main" id="{1870A393-E7FE-4891-8EB1-EFEFCD7DFB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933" y="-12358"/>
            <a:ext cx="5952067" cy="6870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41ACBE-EEE1-4BCE-A411-0938C8F59478}"/>
              </a:ext>
            </a:extLst>
          </p:cNvPr>
          <p:cNvSpPr/>
          <p:nvPr/>
        </p:nvSpPr>
        <p:spPr>
          <a:xfrm>
            <a:off x="6096000" y="2965622"/>
            <a:ext cx="5952067" cy="9144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77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6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85C0ED-C30B-40F8-AA20-D5630416083A}"/>
              </a:ext>
            </a:extLst>
          </p:cNvPr>
          <p:cNvSpPr>
            <a:spLocks noGrp="1"/>
          </p:cNvSpPr>
          <p:nvPr>
            <p:ph type="pic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If necessary, set up AAD authentication</a:t>
            </a:r>
          </a:p>
        </p:txBody>
      </p:sp>
      <p:pic>
        <p:nvPicPr>
          <p:cNvPr id="9218" name="Picture 2" descr="create new AD group in PowerShell">
            <a:extLst>
              <a:ext uri="{FF2B5EF4-FFF2-40B4-BE49-F238E27FC236}">
                <a16:creationId xmlns:a16="http://schemas.microsoft.com/office/drawing/2014/main" id="{54FBD491-B8EF-4C7C-8A63-42C79827F2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62" y="765495"/>
            <a:ext cx="11239225" cy="89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find service identity ID of the DF">
            <a:extLst>
              <a:ext uri="{FF2B5EF4-FFF2-40B4-BE49-F238E27FC236}">
                <a16:creationId xmlns:a16="http://schemas.microsoft.com/office/drawing/2014/main" id="{9EC7400A-6045-40F5-A662-1634E00BD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5658" y="-10770"/>
            <a:ext cx="5755453" cy="6868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add new user to group in PS">
            <a:extLst>
              <a:ext uri="{FF2B5EF4-FFF2-40B4-BE49-F238E27FC236}">
                <a16:creationId xmlns:a16="http://schemas.microsoft.com/office/drawing/2014/main" id="{5E4E08CB-9795-4A29-A716-8538BA4C5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63" y="2124075"/>
            <a:ext cx="11156730" cy="5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7">
            <a:extLst>
              <a:ext uri="{FF2B5EF4-FFF2-40B4-BE49-F238E27FC236}">
                <a16:creationId xmlns:a16="http://schemas.microsoft.com/office/drawing/2014/main" id="{E2281583-149A-4D82-9DA8-7CFC08C3B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861" y="4959628"/>
            <a:ext cx="4553519" cy="18466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</a:rPr>
              <a:t>CREAT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FF00FF"/>
                </a:solidFill>
                <a:effectLst/>
                <a:latin typeface="Arial Unicode MS"/>
              </a:rPr>
              <a:t>US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[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SSISIrGroup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]</a:t>
            </a:r>
            <a:endParaRPr lang="en-US" altLang="en-US" dirty="0">
              <a:solidFill>
                <a:srgbClr val="000000"/>
              </a:solidFill>
              <a:latin typeface="Arial Unicode M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</a:rPr>
              <a:t>FROM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EXTERNAL PROVID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600" dirty="0">
              <a:solidFill>
                <a:srgbClr val="808080"/>
              </a:solidFill>
              <a:latin typeface="Arial Unicode M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lang="en-US" altLang="en-US" sz="2000" b="0" dirty="0">
                <a:solidFill>
                  <a:srgbClr val="0000FF"/>
                </a:solidFill>
                <a:latin typeface="Arial Unicode MS"/>
              </a:rPr>
              <a:t>ALTER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ROLE </a:t>
            </a:r>
            <a:r>
              <a:rPr lang="en-US" altLang="en-US" sz="2000" b="0" dirty="0" err="1">
                <a:solidFill>
                  <a:srgbClr val="000000"/>
                </a:solidFill>
                <a:latin typeface="Arial Unicode MS"/>
              </a:rPr>
              <a:t>dbmanager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</a:t>
            </a:r>
            <a:r>
              <a:rPr lang="en-US" altLang="en-US" sz="2000" b="0" dirty="0">
                <a:solidFill>
                  <a:srgbClr val="0000FF"/>
                </a:solidFill>
                <a:latin typeface="Arial Unicode MS"/>
              </a:rPr>
              <a:t>ADD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MEMBER </a:t>
            </a:r>
            <a:r>
              <a:rPr lang="en-US" altLang="en-US" sz="2000" b="0" dirty="0">
                <a:solidFill>
                  <a:srgbClr val="808080"/>
                </a:solidFill>
                <a:latin typeface="Arial Unicode MS"/>
              </a:rPr>
              <a:t>[</a:t>
            </a:r>
            <a:r>
              <a:rPr lang="en-US" altLang="en-US" sz="2000" b="0" dirty="0" err="1">
                <a:solidFill>
                  <a:srgbClr val="000000"/>
                </a:solidFill>
                <a:latin typeface="Arial Unicode MS"/>
              </a:rPr>
              <a:t>SSISIrGroup</a:t>
            </a:r>
            <a:r>
              <a:rPr lang="en-US" altLang="en-US" sz="2000" b="0" dirty="0">
                <a:solidFill>
                  <a:srgbClr val="808080"/>
                </a:solidFill>
                <a:latin typeface="Arial Unicode MS"/>
              </a:rPr>
              <a:t>];</a:t>
            </a:r>
            <a:r>
              <a:rPr lang="en-US" altLang="en-US" b="0" dirty="0"/>
              <a:t> </a:t>
            </a:r>
            <a:endParaRPr lang="en-US" altLang="en-US" sz="4800" b="0" dirty="0"/>
          </a:p>
        </p:txBody>
      </p:sp>
    </p:spTree>
    <p:extLst>
      <p:ext uri="{BB962C8B-B14F-4D97-AF65-F5344CB8AC3E}">
        <p14:creationId xmlns:p14="http://schemas.microsoft.com/office/powerpoint/2010/main" val="32071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7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12446" cy="1371600"/>
          </a:xfrm>
        </p:spPr>
        <p:txBody>
          <a:bodyPr>
            <a:normAutofit/>
          </a:bodyPr>
          <a:lstStyle/>
          <a:p>
            <a:r>
              <a:rPr lang="en-US" sz="2800" dirty="0"/>
              <a:t>Test connection and set number of parallel executions</a:t>
            </a:r>
          </a:p>
        </p:txBody>
      </p:sp>
      <p:pic>
        <p:nvPicPr>
          <p:cNvPr id="10242" name="Picture 2" descr="use windows authentication">
            <a:extLst>
              <a:ext uri="{FF2B5EF4-FFF2-40B4-BE49-F238E27FC236}">
                <a16:creationId xmlns:a16="http://schemas.microsoft.com/office/drawing/2014/main" id="{61DB67CB-C8BE-4F4D-827A-9087E9FB5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512" y="351138"/>
            <a:ext cx="5870487" cy="176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advanced settings">
            <a:extLst>
              <a:ext uri="{FF2B5EF4-FFF2-40B4-BE49-F238E27FC236}">
                <a16:creationId xmlns:a16="http://schemas.microsoft.com/office/drawing/2014/main" id="{23652AC3-875F-488C-B46E-CA74723EAC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1" y="3429000"/>
            <a:ext cx="5867399" cy="2804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310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Go grab some coffee</a:t>
            </a:r>
          </a:p>
        </p:txBody>
      </p:sp>
      <p:pic>
        <p:nvPicPr>
          <p:cNvPr id="11266" name="Picture 2" descr="creating the IR. Waiting time!">
            <a:extLst>
              <a:ext uri="{FF2B5EF4-FFF2-40B4-BE49-F238E27FC236}">
                <a16:creationId xmlns:a16="http://schemas.microsoft.com/office/drawing/2014/main" id="{F5CA0600-7962-450F-AC47-C0EBA063F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049" y="4458044"/>
            <a:ext cx="10485245" cy="239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offee, Beans, Coffee Bean, Drink, Beverage, Brown">
            <a:extLst>
              <a:ext uri="{FF2B5EF4-FFF2-40B4-BE49-F238E27FC236}">
                <a16:creationId xmlns:a16="http://schemas.microsoft.com/office/drawing/2014/main" id="{78A57F2C-7CB0-461F-B3B7-332968BD3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599" y="0"/>
            <a:ext cx="3599935" cy="239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918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9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010170" cy="1371600"/>
          </a:xfrm>
        </p:spPr>
        <p:txBody>
          <a:bodyPr>
            <a:normAutofit/>
          </a:bodyPr>
          <a:lstStyle/>
          <a:p>
            <a:r>
              <a:rPr lang="en-US" sz="2800" dirty="0"/>
              <a:t>Deploy your SSIS project to the SSIS catalog</a:t>
            </a:r>
          </a:p>
        </p:txBody>
      </p:sp>
      <p:pic>
        <p:nvPicPr>
          <p:cNvPr id="12290" name="Picture 2" descr="the SSIS catalog in Azure SQL DB">
            <a:extLst>
              <a:ext uri="{FF2B5EF4-FFF2-40B4-BE49-F238E27FC236}">
                <a16:creationId xmlns:a16="http://schemas.microsoft.com/office/drawing/2014/main" id="{CAB16423-672D-48AA-9A7E-5F3BA2FE7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624" y="0"/>
            <a:ext cx="6793376" cy="185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enter server name">
            <a:extLst>
              <a:ext uri="{FF2B5EF4-FFF2-40B4-BE49-F238E27FC236}">
                <a16:creationId xmlns:a16="http://schemas.microsoft.com/office/drawing/2014/main" id="{E1F59A20-6BAD-4922-BF7E-7E5284457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625" y="3192978"/>
            <a:ext cx="6793376" cy="311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59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10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chedule your SSIS packages</a:t>
            </a:r>
          </a:p>
        </p:txBody>
      </p:sp>
      <p:pic>
        <p:nvPicPr>
          <p:cNvPr id="13314" name="Picture 2" descr="schedule a package">
            <a:extLst>
              <a:ext uri="{FF2B5EF4-FFF2-40B4-BE49-F238E27FC236}">
                <a16:creationId xmlns:a16="http://schemas.microsoft.com/office/drawing/2014/main" id="{4F9B33F0-9E2B-4278-9741-CB6705929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954" y="4717988"/>
            <a:ext cx="4098067" cy="1933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configure schedule">
            <a:extLst>
              <a:ext uri="{FF2B5EF4-FFF2-40B4-BE49-F238E27FC236}">
                <a16:creationId xmlns:a16="http://schemas.microsoft.com/office/drawing/2014/main" id="{1AD6E0A0-32C1-488E-AF85-FFFC01DD2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408" y="0"/>
            <a:ext cx="6002592" cy="496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305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arn how to set up and configure the IR</a:t>
            </a:r>
          </a:p>
          <a:p>
            <a:r>
              <a:rPr lang="nl-BE" dirty="0" err="1"/>
              <a:t>figure</a:t>
            </a:r>
            <a:r>
              <a:rPr lang="nl-BE" dirty="0"/>
              <a:t> out </a:t>
            </a:r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need</a:t>
            </a:r>
            <a:r>
              <a:rPr lang="nl-BE" dirty="0"/>
              <a:t> a </a:t>
            </a:r>
            <a:r>
              <a:rPr lang="nl-BE" dirty="0" err="1"/>
              <a:t>custom</a:t>
            </a:r>
            <a:r>
              <a:rPr lang="nl-BE" dirty="0"/>
              <a:t> setup</a:t>
            </a:r>
          </a:p>
          <a:p>
            <a:r>
              <a:rPr lang="nl-BE" dirty="0" err="1"/>
              <a:t>what</a:t>
            </a:r>
            <a:r>
              <a:rPr lang="nl-BE" dirty="0"/>
              <a:t> </a:t>
            </a:r>
            <a:r>
              <a:rPr lang="nl-BE" dirty="0" err="1"/>
              <a:t>about</a:t>
            </a:r>
            <a:r>
              <a:rPr lang="nl-BE" dirty="0"/>
              <a:t> on-</a:t>
            </a:r>
            <a:r>
              <a:rPr lang="nl-BE" dirty="0" err="1"/>
              <a:t>prem</a:t>
            </a:r>
            <a:r>
              <a:rPr lang="nl-BE" dirty="0"/>
              <a:t> data?</a:t>
            </a:r>
          </a:p>
          <a:p>
            <a:pPr lvl="1"/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migrate</a:t>
            </a:r>
            <a:r>
              <a:rPr lang="nl-BE" dirty="0"/>
              <a:t> on-</a:t>
            </a:r>
            <a:r>
              <a:rPr lang="nl-BE" dirty="0" err="1"/>
              <a:t>prem</a:t>
            </a:r>
            <a:r>
              <a:rPr lang="nl-BE" dirty="0"/>
              <a:t> files </a:t>
            </a:r>
            <a:r>
              <a:rPr lang="nl-BE" dirty="0" err="1"/>
              <a:t>to</a:t>
            </a:r>
            <a:r>
              <a:rPr lang="nl-BE" dirty="0"/>
              <a:t> Azure Files</a:t>
            </a:r>
          </a:p>
          <a:p>
            <a:r>
              <a:rPr lang="nl-BE" dirty="0"/>
              <a:t>basic pipeline/trigger </a:t>
            </a:r>
            <a:r>
              <a:rPr lang="nl-BE" dirty="0" err="1"/>
              <a:t>functionality</a:t>
            </a:r>
            <a:r>
              <a:rPr lang="nl-BE" dirty="0"/>
              <a:t> in AD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1994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A8E630-9C7A-6FE5-70CD-B940ACE099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hlinkClick r:id="rId2"/>
              </a:rPr>
              <a:t>On-demand webinar at MSSQLTips.com</a:t>
            </a:r>
            <a:endParaRPr lang="nl-BE" sz="3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5AC1B8-CED8-519F-99C9-367B68596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7024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4701170" y="1712067"/>
            <a:ext cx="2529191" cy="33195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786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br>
              <a:rPr lang="en-US" sz="5400" dirty="0"/>
            </a:br>
            <a:r>
              <a:rPr lang="en-US" sz="9600" dirty="0"/>
              <a:t>use ADF as an orchestrator</a:t>
            </a:r>
            <a:endParaRPr lang="nl-BE" sz="9600" dirty="0"/>
          </a:p>
        </p:txBody>
      </p:sp>
      <p:pic>
        <p:nvPicPr>
          <p:cNvPr id="2" name="Picture 1" descr="A person taking a selfie&#10;&#10;Description automatically generated">
            <a:extLst>
              <a:ext uri="{FF2B5EF4-FFF2-40B4-BE49-F238E27FC236}">
                <a16:creationId xmlns:a16="http://schemas.microsoft.com/office/drawing/2014/main" id="{209F9467-A97E-C5ED-641B-F571BD032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678808" y="5344809"/>
            <a:ext cx="1729361" cy="129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8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How do I transfer my skills from SSIS to ADF?</a:t>
            </a:r>
            <a:endParaRPr lang="nl-BE" sz="720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5682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F70E06-AAE2-628F-9399-F7EEA466B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19020"/>
            <a:ext cx="10515600" cy="2826004"/>
          </a:xfrm>
        </p:spPr>
        <p:txBody>
          <a:bodyPr/>
          <a:lstStyle/>
          <a:p>
            <a:pPr marL="0" indent="0">
              <a:buNone/>
            </a:pP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2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5F9D5-22FB-5F32-696E-D1C2F105FD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5069" y="1818505"/>
            <a:ext cx="10861861" cy="449193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= control flow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879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A9C576-B38E-2928-92D5-FB216231E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513" y="1052378"/>
            <a:ext cx="2116015" cy="5672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23469-1037-CB58-7DE9-5FA7320E5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9955" y="1091653"/>
            <a:ext cx="1748478" cy="56330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32360B-629F-6586-67BB-7BA19B4147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2860" y="981503"/>
            <a:ext cx="2103190" cy="57926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D7053A-2DAC-BE9E-063F-852922D624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0477" y="2579289"/>
            <a:ext cx="1707028" cy="211854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 = control flow task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0092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0199DB-DC75-75C7-C88E-1212BEFD8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edence constraints?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2546-FE25-3AC7-EE56-4835ADF63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5" y="1818505"/>
            <a:ext cx="4582104" cy="2477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3A7D68-CFF5-5AF9-4E4E-95A4E0F87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041" y="3963385"/>
            <a:ext cx="7678881" cy="2477405"/>
          </a:xfrm>
          <a:prstGeom prst="rect">
            <a:avLst/>
          </a:prstGeom>
        </p:spPr>
      </p:pic>
      <p:pic>
        <p:nvPicPr>
          <p:cNvPr id="6" name="Picture 2" descr="yeah.... nope. - Willy Wonka | Meme Generator">
            <a:extLst>
              <a:ext uri="{FF2B5EF4-FFF2-40B4-BE49-F238E27FC236}">
                <a16:creationId xmlns:a16="http://schemas.microsoft.com/office/drawing/2014/main" id="{5D587167-E6BE-E636-619F-294BBDB60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761" y="52845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0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C387C8-A73F-55C0-731D-20E4A0AB4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py data activity = data flow with only source and dest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17E8C-EA4C-1695-37C5-B2E5FAB6F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4594" y="1737889"/>
            <a:ext cx="7498730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00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797D2-6D97-C139-3ACB-7BE9816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  <a:p>
            <a:r>
              <a:rPr lang="en-US" sz="2800" dirty="0"/>
              <a:t>points to a certain data location</a:t>
            </a:r>
          </a:p>
          <a:p>
            <a:r>
              <a:rPr lang="en-US" sz="2800" dirty="0"/>
              <a:t>contains info on how to authenticate</a:t>
            </a:r>
          </a:p>
          <a:p>
            <a:r>
              <a:rPr lang="en-US" sz="2800" dirty="0"/>
              <a:t>can integrate with Azure Key Vault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4CAB5-BD1C-E2D4-80C6-808EA06EE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inked service =</a:t>
            </a:r>
            <a:br>
              <a:rPr lang="en-US" dirty="0"/>
            </a:br>
            <a:r>
              <a:rPr lang="en-US" dirty="0"/>
              <a:t>connection manage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34E800-8A81-4E9E-B617-D41F43573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456" y="0"/>
            <a:ext cx="435254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6F744D-CA11-2212-AEE1-8EC151DB35FB}"/>
              </a:ext>
            </a:extLst>
          </p:cNvPr>
          <p:cNvSpPr txBox="1"/>
          <p:nvPr/>
        </p:nvSpPr>
        <p:spPr>
          <a:xfrm>
            <a:off x="7834503" y="5243826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836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F92BE-AF2B-B6AB-D3E0-1362BF515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309BF-DE88-29EB-FA4F-BAAECB6D1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209" y="1061749"/>
            <a:ext cx="8241792" cy="57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B4C691-894C-B80C-E24B-6DC6829D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F735C8-EE3D-F360-0F3A-ED6266C23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876848" y="1307115"/>
            <a:ext cx="7079999" cy="1144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63FDA4-7CC3-2F99-1FB2-B7BFECD4E3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876848" y="3675612"/>
            <a:ext cx="6981825" cy="11514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485F-7361-8D1A-7E71-3188D7F5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3717" y="2558408"/>
            <a:ext cx="7643522" cy="8458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C31B44-F46D-0439-B798-478AB4B0C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48" y="5213631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6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285107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E3E2FB-A566-20AF-CC31-868E1DE86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</a:t>
            </a:r>
            <a:r>
              <a:rPr lang="en-US" dirty="0" err="1"/>
              <a:t>ftw</a:t>
            </a:r>
            <a:r>
              <a:rPr lang="en-US" dirty="0"/>
              <a:t> = forget about BIML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DDCB7B-FCA4-6A5B-3439-CBDAE4E15B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5D0CDD-0190-4D22-B901-2D497D8502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64EDF69-9DDE-D855-FB8A-84246779FAAB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4FFCB30-AECE-FEF4-9BCB-39FF24F07DFA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645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1578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EF1238-1C3D-B843-65B8-1A4C6EA2C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BF570F-FEE9-70C6-2821-F243B9DB0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2583" y="1508513"/>
            <a:ext cx="8222693" cy="14631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FB7C3A-1E1A-D4E4-777D-05BA1B244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583" y="3489715"/>
            <a:ext cx="4564776" cy="297967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37B991C-91B3-6893-51A0-5C6D3A2B393F}"/>
              </a:ext>
            </a:extLst>
          </p:cNvPr>
          <p:cNvCxnSpPr>
            <a:cxnSpLocks/>
          </p:cNvCxnSpPr>
          <p:nvPr/>
        </p:nvCxnSpPr>
        <p:spPr>
          <a:xfrm flipV="1">
            <a:off x="6749386" y="2779139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74C4CE7-F298-CFF7-9B10-2B2BD2780AE2}"/>
              </a:ext>
            </a:extLst>
          </p:cNvPr>
          <p:cNvCxnSpPr>
            <a:cxnSpLocks/>
          </p:cNvCxnSpPr>
          <p:nvPr/>
        </p:nvCxnSpPr>
        <p:spPr>
          <a:xfrm flipH="1" flipV="1">
            <a:off x="4826801" y="2662128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18435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5FAB2F-F819-D11A-804D-E3029876C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A66121-0390-8A6C-2351-E6B0B7BCA8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37" y="2808142"/>
            <a:ext cx="4541914" cy="16841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B1A6E8-AAF1-E019-516C-311DA8DB2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7137" y="1564042"/>
            <a:ext cx="6393734" cy="4801016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12EBB17-5470-5395-8ADC-B9282690F25A}"/>
              </a:ext>
            </a:extLst>
          </p:cNvPr>
          <p:cNvCxnSpPr>
            <a:cxnSpLocks/>
          </p:cNvCxnSpPr>
          <p:nvPr/>
        </p:nvCxnSpPr>
        <p:spPr>
          <a:xfrm flipV="1">
            <a:off x="3682929" y="28081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9511D36-6104-0362-D076-1FC88C255010}"/>
              </a:ext>
            </a:extLst>
          </p:cNvPr>
          <p:cNvSpPr txBox="1"/>
          <p:nvPr/>
        </p:nvSpPr>
        <p:spPr>
          <a:xfrm>
            <a:off x="8600759" y="44923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2781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5042C2-9656-CD1A-1F57-D9276AD1B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D22A8A-EAD1-BCB6-FBFB-FC5CD6451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A40CC0-AB29-FC46-83A1-21BCF4FE78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CDC7534-02C2-C580-0DA3-3F8C21CB777E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4EBAA43-1601-08E5-19BE-CC323CE849F2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004F681-E552-C1A1-FC77-51C800EC174B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1942A4F-650C-8A15-840E-A85A46185611}"/>
              </a:ext>
            </a:extLst>
          </p:cNvPr>
          <p:cNvSpPr txBox="1"/>
          <p:nvPr/>
        </p:nvSpPr>
        <p:spPr>
          <a:xfrm>
            <a:off x="7383654" y="2907268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16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252441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learn about pipelines, activities, variables and parameterization</a:t>
            </a:r>
          </a:p>
          <a:p>
            <a:pPr lvl="1"/>
            <a:r>
              <a:rPr lang="en-US" dirty="0"/>
              <a:t>a new expression language</a:t>
            </a:r>
          </a:p>
          <a:p>
            <a:pPr lvl="1"/>
            <a:r>
              <a:rPr lang="en-US" dirty="0"/>
              <a:t>luckily, it’s just as infuriating as a derived column</a:t>
            </a:r>
          </a:p>
          <a:p>
            <a:r>
              <a:rPr lang="en-US" dirty="0"/>
              <a:t>finally get to use some decent git and CI/CD</a:t>
            </a:r>
          </a:p>
          <a:p>
            <a:r>
              <a:rPr lang="en-US" dirty="0"/>
              <a:t>forget about Visual Studio!</a:t>
            </a:r>
          </a:p>
          <a:p>
            <a:r>
              <a:rPr lang="en-US" dirty="0"/>
              <a:t>start thinking about creating generic pipelines</a:t>
            </a:r>
          </a:p>
          <a:p>
            <a:r>
              <a:rPr lang="en-US" dirty="0"/>
              <a:t>use Copy data activity for data transfer</a:t>
            </a:r>
          </a:p>
          <a:p>
            <a:pPr lvl="1"/>
            <a:r>
              <a:rPr lang="en-US" dirty="0"/>
              <a:t>sometimes use complex sources, like REST API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but also learn other Azure tools</a:t>
            </a:r>
          </a:p>
          <a:p>
            <a:pPr lvl="1"/>
            <a:r>
              <a:rPr lang="en-US" dirty="0"/>
              <a:t>Logic Apps, Azure Functions, Azure </a:t>
            </a:r>
            <a:r>
              <a:rPr lang="en-US" dirty="0" err="1"/>
              <a:t>Keyvault</a:t>
            </a:r>
            <a:r>
              <a:rPr lang="en-US" dirty="0"/>
              <a:t> …</a:t>
            </a:r>
            <a:endParaRPr lang="nl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46142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A8E630-9C7A-6FE5-70CD-B940ACE099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hlinkClick r:id="rId2"/>
              </a:rPr>
              <a:t>Introduction to ADF at MSSQLTips.com</a:t>
            </a: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>
                <a:hlinkClick r:id="rId3"/>
              </a:rPr>
              <a:t>Beginner's Guide to Azure Data Factory </a:t>
            </a:r>
            <a:r>
              <a:rPr lang="en-US" sz="3200" dirty="0"/>
              <a:t>by </a:t>
            </a:r>
            <a:r>
              <a:rPr lang="en-US" sz="3200" dirty="0" err="1"/>
              <a:t>Cathrine</a:t>
            </a:r>
            <a:r>
              <a:rPr lang="en-US" sz="3200" dirty="0"/>
              <a:t> Wilhelmsen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/>
              <a:t>+ other online resources, books, videos…</a:t>
            </a:r>
            <a:endParaRPr lang="nl-BE" sz="3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5AC1B8-CED8-519F-99C9-367B68596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08467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7B78B5-6D53-AE73-8782-C51DCC4B14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0126"/>
            <a:ext cx="10515600" cy="4719952"/>
          </a:xfrm>
        </p:spPr>
        <p:txBody>
          <a:bodyPr>
            <a:normAutofit/>
          </a:bodyPr>
          <a:lstStyle/>
          <a:p>
            <a:pPr marL="571500" indent="-571500">
              <a:buFont typeface="+mj-lt"/>
              <a:buAutoNum type="arabicPeriod"/>
            </a:pPr>
            <a:r>
              <a:rPr lang="en-US" sz="3200" dirty="0"/>
              <a:t>“</a:t>
            </a:r>
            <a:r>
              <a:rPr lang="en-US" sz="3200" dirty="0" err="1"/>
              <a:t>lift&amp;shift</a:t>
            </a:r>
            <a:r>
              <a:rPr lang="en-US" sz="3200" dirty="0"/>
              <a:t>” existing SSIS projects to ADF</a:t>
            </a:r>
          </a:p>
          <a:p>
            <a:pPr marL="571500" indent="-571500">
              <a:buFont typeface="+mj-lt"/>
              <a:buAutoNum type="arabicPeriod"/>
            </a:pPr>
            <a:endParaRPr lang="en-US" sz="3200" dirty="0"/>
          </a:p>
          <a:p>
            <a:pPr marL="571500" indent="-571500">
              <a:buFont typeface="+mj-lt"/>
              <a:buAutoNum type="arabicPeriod"/>
            </a:pPr>
            <a:r>
              <a:rPr lang="en-US" sz="3200" dirty="0"/>
              <a:t>use ADF as an orchestrator</a:t>
            </a:r>
          </a:p>
          <a:p>
            <a:pPr marL="571500" indent="-571500">
              <a:buFont typeface="+mj-lt"/>
              <a:buAutoNum type="arabicPeriod"/>
            </a:pPr>
            <a:endParaRPr lang="en-US" sz="3200" dirty="0"/>
          </a:p>
          <a:p>
            <a:pPr marL="571500" indent="-571500">
              <a:buFont typeface="+mj-lt"/>
              <a:buAutoNum type="arabicPeriod"/>
            </a:pPr>
            <a:r>
              <a:rPr lang="nl-BE" sz="3200" dirty="0" err="1"/>
              <a:t>use</a:t>
            </a:r>
            <a:r>
              <a:rPr lang="nl-BE" sz="3200" dirty="0"/>
              <a:t> data </a:t>
            </a:r>
            <a:r>
              <a:rPr lang="nl-BE" sz="3200" dirty="0" err="1"/>
              <a:t>flows</a:t>
            </a:r>
            <a:r>
              <a:rPr lang="nl-BE" sz="3200" dirty="0"/>
              <a:t> as wel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E729BF-5F31-08D7-B2BB-8F5B9AF98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have 3 options</a:t>
            </a:r>
            <a:endParaRPr lang="nl-BE" dirty="0"/>
          </a:p>
        </p:txBody>
      </p:sp>
      <p:pic>
        <p:nvPicPr>
          <p:cNvPr id="4" name="Picture 3" descr="Ordina_profile_small.png">
            <a:extLst>
              <a:ext uri="{FF2B5EF4-FFF2-40B4-BE49-F238E27FC236}">
                <a16:creationId xmlns:a16="http://schemas.microsoft.com/office/drawing/2014/main" id="{A60CA36B-8B56-F2FC-58D0-326239C63F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2323"/>
          <a:stretch/>
        </p:blipFill>
        <p:spPr>
          <a:xfrm>
            <a:off x="9850651" y="4236822"/>
            <a:ext cx="639505" cy="8526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5" name="Picture 4" descr="A person taking a selfie&#10;&#10;Description automatically generated">
            <a:extLst>
              <a:ext uri="{FF2B5EF4-FFF2-40B4-BE49-F238E27FC236}">
                <a16:creationId xmlns:a16="http://schemas.microsoft.com/office/drawing/2014/main" id="{B3401B36-E736-2239-BBA1-84EA91F235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738618" y="3255058"/>
            <a:ext cx="852672" cy="639504"/>
          </a:xfrm>
          <a:prstGeom prst="rect">
            <a:avLst/>
          </a:prstGeom>
        </p:spPr>
      </p:pic>
      <p:pic>
        <p:nvPicPr>
          <p:cNvPr id="6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F29E857B-9494-97EB-6AD9-B48B56006B4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9845202" y="2060126"/>
            <a:ext cx="639504" cy="852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62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1013633" y="1704752"/>
            <a:ext cx="2529191" cy="33195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2721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br>
              <a:rPr lang="en-US" sz="5400" dirty="0"/>
            </a:br>
            <a:r>
              <a:rPr lang="en-US" sz="5400" dirty="0"/>
              <a:t> </a:t>
            </a:r>
            <a:br>
              <a:rPr lang="en-US" sz="5400" dirty="0"/>
            </a:br>
            <a:r>
              <a:rPr lang="en-US" sz="9600" dirty="0"/>
              <a:t>using data flows</a:t>
            </a:r>
            <a:endParaRPr lang="nl-BE" sz="9600" dirty="0"/>
          </a:p>
        </p:txBody>
      </p:sp>
      <p:pic>
        <p:nvPicPr>
          <p:cNvPr id="2" name="Picture 1" descr="Ordina_profile_small.png">
            <a:extLst>
              <a:ext uri="{FF2B5EF4-FFF2-40B4-BE49-F238E27FC236}">
                <a16:creationId xmlns:a16="http://schemas.microsoft.com/office/drawing/2014/main" id="{4A3D8B63-6709-1407-A575-86C9AFF876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2323"/>
          <a:stretch/>
        </p:blipFill>
        <p:spPr>
          <a:xfrm>
            <a:off x="11128443" y="5439924"/>
            <a:ext cx="1063557" cy="14180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0793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D6BCF4-406E-E0CC-D93C-083D8ECA0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047" y="492942"/>
            <a:ext cx="10628137" cy="1325563"/>
          </a:xfrm>
        </p:spPr>
        <p:txBody>
          <a:bodyPr/>
          <a:lstStyle/>
          <a:p>
            <a:r>
              <a:rPr lang="en-US" dirty="0"/>
              <a:t>(mapping) data flow ≈ SSIS data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868B58-688C-0395-2DFA-F0833F1A8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472660"/>
            <a:ext cx="11462278" cy="14666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3F8EED-6B8F-9B08-A270-70430B1D3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47" y="3342290"/>
            <a:ext cx="5250635" cy="313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15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4B68AE-4E1C-9BCA-6E23-9BB3BD468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Query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FF6904-6CD3-84C1-6B54-FC785E4B1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71" y="1027861"/>
            <a:ext cx="11365735" cy="570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774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t more of a learning curve</a:t>
            </a:r>
          </a:p>
          <a:p>
            <a:r>
              <a:rPr lang="en-US" dirty="0"/>
              <a:t>get to know the transformations</a:t>
            </a:r>
          </a:p>
          <a:p>
            <a:pPr lvl="1"/>
            <a:r>
              <a:rPr lang="en-US" dirty="0"/>
              <a:t>some offer “generic” calculations</a:t>
            </a:r>
          </a:p>
          <a:p>
            <a:pPr lvl="1"/>
            <a:r>
              <a:rPr lang="en-US" dirty="0"/>
              <a:t>asserts can be useful for data quality checks</a:t>
            </a:r>
          </a:p>
          <a:p>
            <a:r>
              <a:rPr lang="en-US" dirty="0"/>
              <a:t>learn about partitioning, schema drift …</a:t>
            </a:r>
          </a:p>
          <a:p>
            <a:r>
              <a:rPr lang="en-US" dirty="0"/>
              <a:t>don’t  get too frustrated with the cluster startup time</a:t>
            </a:r>
          </a:p>
          <a:p>
            <a:endParaRPr lang="en-US" dirty="0"/>
          </a:p>
          <a:p>
            <a:r>
              <a:rPr lang="en-US" dirty="0"/>
              <a:t>learn to write code because you got frustrated</a:t>
            </a:r>
            <a:endParaRPr lang="nl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4549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5A1C39-9832-8A7C-05A5-1367D9464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mature ETL/ELT tool</a:t>
            </a:r>
          </a:p>
          <a:p>
            <a:r>
              <a:rPr lang="en-US" sz="3200" dirty="0"/>
              <a:t>easily extensible with .NET</a:t>
            </a:r>
          </a:p>
          <a:p>
            <a:pPr lvl="1"/>
            <a:r>
              <a:rPr lang="en-US" sz="2800" dirty="0"/>
              <a:t>you can create your own components</a:t>
            </a:r>
          </a:p>
          <a:p>
            <a:r>
              <a:rPr lang="en-US" sz="3200" dirty="0"/>
              <a:t>costs are paid up front (server + licensing)</a:t>
            </a:r>
          </a:p>
          <a:p>
            <a:pPr lvl="1"/>
            <a:r>
              <a:rPr lang="en-US" sz="2800" dirty="0"/>
              <a:t>it doesn’t matter how often you run a package</a:t>
            </a:r>
          </a:p>
          <a:p>
            <a:pPr lvl="1"/>
            <a:r>
              <a:rPr lang="en-US" sz="2800" dirty="0"/>
              <a:t>or how many tasks are in a package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4D08D7-419E-4E2C-CD1C-42EA9374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SSI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3632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67D6C9-59EA-CA25-2C08-0BDCE7F884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047" y="1825625"/>
            <a:ext cx="9942741" cy="4351338"/>
          </a:xfrm>
        </p:spPr>
        <p:txBody>
          <a:bodyPr>
            <a:normAutofit/>
          </a:bodyPr>
          <a:lstStyle/>
          <a:p>
            <a:r>
              <a:rPr lang="en-US" sz="3200" dirty="0"/>
              <a:t>cloud scale</a:t>
            </a:r>
          </a:p>
          <a:p>
            <a:r>
              <a:rPr lang="en-US" sz="3200" dirty="0"/>
              <a:t>no upfront investment (monthly cost)</a:t>
            </a:r>
          </a:p>
          <a:p>
            <a:r>
              <a:rPr lang="nl-BE" sz="3200" dirty="0"/>
              <a:t>metadata-</a:t>
            </a:r>
            <a:r>
              <a:rPr lang="nl-BE" sz="3200" dirty="0" err="1"/>
              <a:t>driven</a:t>
            </a:r>
            <a:endParaRPr lang="nl-BE" sz="3200" dirty="0"/>
          </a:p>
          <a:p>
            <a:r>
              <a:rPr lang="nl-BE" sz="3200" dirty="0" err="1"/>
              <a:t>choice</a:t>
            </a:r>
            <a:r>
              <a:rPr lang="nl-BE" sz="3200" dirty="0"/>
              <a:t> of </a:t>
            </a:r>
            <a:r>
              <a:rPr lang="nl-BE" sz="3200" dirty="0" err="1"/>
              <a:t>runtime</a:t>
            </a:r>
            <a:endParaRPr lang="nl-BE" sz="3200" dirty="0"/>
          </a:p>
          <a:p>
            <a:r>
              <a:rPr lang="nl-BE" sz="3200" dirty="0"/>
              <a:t>git </a:t>
            </a:r>
            <a:r>
              <a:rPr lang="nl-BE" sz="3200" dirty="0" err="1"/>
              <a:t>integration</a:t>
            </a:r>
            <a:endParaRPr lang="nl-BE" sz="3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2BC1F7-4A76-4260-3CE5-3A728E16E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ADF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6442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84D18B-B0A6-7CE2-2509-7CDD2EE56B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arder to debug</a:t>
            </a:r>
          </a:p>
          <a:p>
            <a:pPr lvl="1"/>
            <a:r>
              <a:rPr lang="en-US" sz="2800" dirty="0"/>
              <a:t>no option to disable activities</a:t>
            </a:r>
          </a:p>
          <a:p>
            <a:pPr lvl="1"/>
            <a:r>
              <a:rPr lang="en-US" sz="2800" dirty="0"/>
              <a:t>can’t run a single activity</a:t>
            </a:r>
          </a:p>
          <a:p>
            <a:r>
              <a:rPr lang="en-US" sz="3200" dirty="0"/>
              <a:t>cost can be brutal</a:t>
            </a:r>
          </a:p>
          <a:p>
            <a:r>
              <a:rPr lang="en-US" sz="3200" dirty="0"/>
              <a:t>still lacks functionality</a:t>
            </a:r>
          </a:p>
          <a:p>
            <a:pPr lvl="1"/>
            <a:r>
              <a:rPr lang="en-US" sz="2800" dirty="0"/>
              <a:t>send an email?</a:t>
            </a:r>
          </a:p>
          <a:p>
            <a:pPr lvl="1"/>
            <a:r>
              <a:rPr lang="nl-BE" sz="2800" dirty="0" err="1"/>
              <a:t>solve</a:t>
            </a:r>
            <a:r>
              <a:rPr lang="nl-BE" sz="2800" dirty="0"/>
              <a:t> </a:t>
            </a:r>
            <a:r>
              <a:rPr lang="nl-BE" sz="2800" dirty="0" err="1"/>
              <a:t>with</a:t>
            </a:r>
            <a:r>
              <a:rPr lang="nl-BE" sz="2800" dirty="0"/>
              <a:t> Logic Apps or Azure </a:t>
            </a:r>
            <a:r>
              <a:rPr lang="nl-BE" sz="2800" dirty="0" err="1"/>
              <a:t>Functions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5E23EB-54F0-7BB2-F813-51C8DB0A1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dvantages of ADF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5923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8346332" y="1614791"/>
            <a:ext cx="2529191" cy="407589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4659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E9A6BA-1C0F-AB5A-7DE0-9C71EB4DF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2"/>
              </a:rPr>
              <a:t>Dynamic Datasets in Azure Data Factory</a:t>
            </a:r>
            <a:endParaRPr lang="nl-BE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3"/>
              </a:rPr>
              <a:t>Dynamically Map JSON to SQL in Azure Data Factory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4"/>
              </a:rPr>
              <a:t>Beginner's Guide to Azure Data Factory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5"/>
              </a:rPr>
              <a:t>Intro to ADF tutorial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i="0" dirty="0">
                <a:solidFill>
                  <a:srgbClr val="444444"/>
                </a:solidFill>
                <a:effectLst/>
                <a:latin typeface="Roboto Slab"/>
              </a:rPr>
              <a:t>Lots of conferences have recordings onl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E1BD6E-A481-9AA2-A6D5-374BA1F8F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1456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3DF0FF-6A24-93BE-1050-FF8E4D364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service announcement</a:t>
            </a:r>
            <a:endParaRPr lang="nl-BE" dirty="0"/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4108D7ED-17A7-20E2-E092-F75EA18CC024}"/>
              </a:ext>
            </a:extLst>
          </p:cNvPr>
          <p:cNvSpPr txBox="1">
            <a:spLocks/>
          </p:cNvSpPr>
          <p:nvPr/>
        </p:nvSpPr>
        <p:spPr>
          <a:xfrm>
            <a:off x="990600" y="16094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68000" indent="-468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0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32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4pPr>
            <a:lvl5pPr marL="2196000" indent="-43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 kern="1200">
                <a:solidFill>
                  <a:srgbClr val="19191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Tx/>
              <a:buNone/>
            </a:pPr>
            <a:r>
              <a:rPr lang="en-US" sz="6600" b="0" dirty="0"/>
              <a:t>Most functionality of ADF (but not all)</a:t>
            </a:r>
            <a:br>
              <a:rPr lang="en-US" sz="6600" b="0" dirty="0"/>
            </a:br>
            <a:r>
              <a:rPr lang="en-US" sz="6600" b="0" dirty="0"/>
              <a:t>can be found in</a:t>
            </a:r>
            <a:br>
              <a:rPr lang="en-US" sz="6600" b="0" dirty="0"/>
            </a:br>
            <a:r>
              <a:rPr lang="en-US" sz="6600" b="0" dirty="0"/>
              <a:t>Synapse Pipelines/Fabric</a:t>
            </a:r>
            <a:endParaRPr lang="nl-BE" sz="6600" b="0" dirty="0"/>
          </a:p>
        </p:txBody>
      </p:sp>
    </p:spTree>
    <p:extLst>
      <p:ext uri="{BB962C8B-B14F-4D97-AF65-F5344CB8AC3E}">
        <p14:creationId xmlns:p14="http://schemas.microsoft.com/office/powerpoint/2010/main" val="4005376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lift &amp; shift</a:t>
            </a:r>
            <a:endParaRPr lang="nl-BE" sz="16600" dirty="0"/>
          </a:p>
        </p:txBody>
      </p:sp>
      <p:pic>
        <p:nvPicPr>
          <p:cNvPr id="2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A4BFFA03-FD89-98D7-30C6-5C4E083CEA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10813782" y="5020377"/>
            <a:ext cx="1378218" cy="1837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60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4EE3576-AD0E-463D-8D76-F6D62A36B0CA}"/>
              </a:ext>
            </a:extLst>
          </p:cNvPr>
          <p:cNvSpPr/>
          <p:nvPr/>
        </p:nvSpPr>
        <p:spPr>
          <a:xfrm>
            <a:off x="8640034" y="313167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743D7A6-E556-4B3F-9273-AFA26241F5DD}"/>
              </a:ext>
            </a:extLst>
          </p:cNvPr>
          <p:cNvSpPr/>
          <p:nvPr/>
        </p:nvSpPr>
        <p:spPr>
          <a:xfrm>
            <a:off x="661087" y="285476"/>
            <a:ext cx="4009767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AB0C37-1992-4B9E-BCB3-78BA03496026}"/>
              </a:ext>
            </a:extLst>
          </p:cNvPr>
          <p:cNvCxnSpPr/>
          <p:nvPr/>
        </p:nvCxnSpPr>
        <p:spPr>
          <a:xfrm>
            <a:off x="111211" y="3632894"/>
            <a:ext cx="12080789" cy="0"/>
          </a:xfrm>
          <a:prstGeom prst="line">
            <a:avLst/>
          </a:prstGeom>
          <a:ln w="317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0FAACD1-8E07-4509-B298-E288013182FC}"/>
              </a:ext>
            </a:extLst>
          </p:cNvPr>
          <p:cNvSpPr txBox="1"/>
          <p:nvPr/>
        </p:nvSpPr>
        <p:spPr>
          <a:xfrm>
            <a:off x="111211" y="3138623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CE979-7DAB-43EC-B4C3-563748980269}"/>
              </a:ext>
            </a:extLst>
          </p:cNvPr>
          <p:cNvSpPr txBox="1"/>
          <p:nvPr/>
        </p:nvSpPr>
        <p:spPr>
          <a:xfrm>
            <a:off x="111211" y="3684377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On-premises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23E94BFE-14C8-4B03-BF24-F15A7AB99433}"/>
              </a:ext>
            </a:extLst>
          </p:cNvPr>
          <p:cNvSpPr/>
          <p:nvPr/>
        </p:nvSpPr>
        <p:spPr>
          <a:xfrm>
            <a:off x="5614086" y="4179081"/>
            <a:ext cx="963827" cy="132834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SISDB</a:t>
            </a:r>
          </a:p>
        </p:txBody>
      </p:sp>
      <p:pic>
        <p:nvPicPr>
          <p:cNvPr id="3076" name="Picture 4" descr="Gerelateerde afbeelding">
            <a:extLst>
              <a:ext uri="{FF2B5EF4-FFF2-40B4-BE49-F238E27FC236}">
                <a16:creationId xmlns:a16="http://schemas.microsoft.com/office/drawing/2014/main" id="{CAFA37F9-FE22-477E-A8FA-DB6B61D86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619" y="4278406"/>
            <a:ext cx="1096576" cy="113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1CB4424-DDEB-4EBA-90FE-AA5920EBF923}"/>
              </a:ext>
            </a:extLst>
          </p:cNvPr>
          <p:cNvSpPr txBox="1"/>
          <p:nvPr/>
        </p:nvSpPr>
        <p:spPr>
          <a:xfrm>
            <a:off x="1930448" y="5392005"/>
            <a:ext cx="10907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DT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652EC23-715B-4CB1-8DB6-7F0A252F98DF}"/>
              </a:ext>
            </a:extLst>
          </p:cNvPr>
          <p:cNvCxnSpPr/>
          <p:nvPr/>
        </p:nvCxnSpPr>
        <p:spPr>
          <a:xfrm>
            <a:off x="3311611" y="4843255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078" name="Picture 6" descr="Afbeeldingsresultaat voor sql server management studio logo">
            <a:extLst>
              <a:ext uri="{FF2B5EF4-FFF2-40B4-BE49-F238E27FC236}">
                <a16:creationId xmlns:a16="http://schemas.microsoft.com/office/drawing/2014/main" id="{E1808C1F-D725-4BB5-9797-402DE8AE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804" y="4290164"/>
            <a:ext cx="1111593" cy="113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4D0B219-D7B0-4969-B1B0-5F404B07447D}"/>
              </a:ext>
            </a:extLst>
          </p:cNvPr>
          <p:cNvSpPr txBox="1"/>
          <p:nvPr/>
        </p:nvSpPr>
        <p:spPr>
          <a:xfrm>
            <a:off x="9480467" y="5473217"/>
            <a:ext cx="10907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M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573E2A9-53C7-4B28-A2B0-77A06D8EC998}"/>
              </a:ext>
            </a:extLst>
          </p:cNvPr>
          <p:cNvCxnSpPr/>
          <p:nvPr/>
        </p:nvCxnSpPr>
        <p:spPr>
          <a:xfrm>
            <a:off x="7035114" y="4861998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10659A2-F760-458D-AFF5-32274AD2379F}"/>
              </a:ext>
            </a:extLst>
          </p:cNvPr>
          <p:cNvSpPr txBox="1"/>
          <p:nvPr/>
        </p:nvSpPr>
        <p:spPr>
          <a:xfrm>
            <a:off x="3521676" y="4959869"/>
            <a:ext cx="1816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uthor &amp; deplo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376D61-3F22-4084-9191-C0BFFCA1F36A}"/>
              </a:ext>
            </a:extLst>
          </p:cNvPr>
          <p:cNvSpPr txBox="1"/>
          <p:nvPr/>
        </p:nvSpPr>
        <p:spPr>
          <a:xfrm>
            <a:off x="7078361" y="4959869"/>
            <a:ext cx="2026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nage &amp; schedule</a:t>
            </a:r>
          </a:p>
        </p:txBody>
      </p:sp>
      <p:pic>
        <p:nvPicPr>
          <p:cNvPr id="3080" name="Picture 8" descr="Afbeeldingsresultaat voor azure data factory v2">
            <a:extLst>
              <a:ext uri="{FF2B5EF4-FFF2-40B4-BE49-F238E27FC236}">
                <a16:creationId xmlns:a16="http://schemas.microsoft.com/office/drawing/2014/main" id="{E33A1C85-0040-4FBB-A6B6-1350961C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34" y="665059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B4C2A3-ADB8-4FD8-809A-A420C4F7EA7C}"/>
              </a:ext>
            </a:extLst>
          </p:cNvPr>
          <p:cNvSpPr txBox="1"/>
          <p:nvPr/>
        </p:nvSpPr>
        <p:spPr>
          <a:xfrm>
            <a:off x="1185221" y="2135211"/>
            <a:ext cx="755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D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5DBFC6-6C04-452C-88FC-3301ADD7EFDC}"/>
              </a:ext>
            </a:extLst>
          </p:cNvPr>
          <p:cNvSpPr txBox="1"/>
          <p:nvPr/>
        </p:nvSpPr>
        <p:spPr>
          <a:xfrm>
            <a:off x="2272919" y="656844"/>
            <a:ext cx="2287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ovisioning &amp; manageme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CAB36-AC83-4BA4-9F5C-A37319628748}"/>
              </a:ext>
            </a:extLst>
          </p:cNvPr>
          <p:cNvSpPr/>
          <p:nvPr/>
        </p:nvSpPr>
        <p:spPr>
          <a:xfrm>
            <a:off x="4997580" y="270031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DC97115A-AF7E-4EEC-A1B1-29E44447D143}"/>
              </a:ext>
            </a:extLst>
          </p:cNvPr>
          <p:cNvSpPr/>
          <p:nvPr/>
        </p:nvSpPr>
        <p:spPr>
          <a:xfrm>
            <a:off x="8906419" y="715260"/>
            <a:ext cx="963827" cy="132834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SISD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9CB50F-48C3-4908-9F95-4AE7E06D0952}"/>
              </a:ext>
            </a:extLst>
          </p:cNvPr>
          <p:cNvSpPr txBox="1"/>
          <p:nvPr/>
        </p:nvSpPr>
        <p:spPr>
          <a:xfrm>
            <a:off x="10033609" y="607681"/>
            <a:ext cx="20510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 SQL DB or Managed Instan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7563A6-1B29-461F-98B1-25F298C17359}"/>
              </a:ext>
            </a:extLst>
          </p:cNvPr>
          <p:cNvSpPr txBox="1"/>
          <p:nvPr/>
        </p:nvSpPr>
        <p:spPr>
          <a:xfrm>
            <a:off x="6599598" y="676281"/>
            <a:ext cx="17764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-SSIS IR (Azure Comput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AF0D5A9-CC1B-414A-B141-7D1678158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3991" y="751782"/>
            <a:ext cx="1345684" cy="1255304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1A2353E-3E09-4BBB-9AE6-EDCCF49B5188}"/>
              </a:ext>
            </a:extLst>
          </p:cNvPr>
          <p:cNvCxnSpPr>
            <a:cxnSpLocks/>
          </p:cNvCxnSpPr>
          <p:nvPr/>
        </p:nvCxnSpPr>
        <p:spPr>
          <a:xfrm flipV="1">
            <a:off x="3204519" y="2845837"/>
            <a:ext cx="5435515" cy="1506112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1BCEB2A-5E22-4D2E-A346-6F69DAF2FF37}"/>
              </a:ext>
            </a:extLst>
          </p:cNvPr>
          <p:cNvCxnSpPr>
            <a:cxnSpLocks/>
          </p:cNvCxnSpPr>
          <p:nvPr/>
        </p:nvCxnSpPr>
        <p:spPr>
          <a:xfrm flipH="1" flipV="1">
            <a:off x="9336821" y="2966221"/>
            <a:ext cx="481914" cy="114761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D5FF032-FFDF-4CA5-A969-933FB64D890D}"/>
              </a:ext>
            </a:extLst>
          </p:cNvPr>
          <p:cNvCxnSpPr/>
          <p:nvPr/>
        </p:nvCxnSpPr>
        <p:spPr>
          <a:xfrm>
            <a:off x="3416643" y="1808010"/>
            <a:ext cx="2026508" cy="0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77B4FB7-4D90-4FE4-861D-1FC24B6C2765}"/>
              </a:ext>
            </a:extLst>
          </p:cNvPr>
          <p:cNvCxnSpPr>
            <a:cxnSpLocks/>
          </p:cNvCxnSpPr>
          <p:nvPr/>
        </p:nvCxnSpPr>
        <p:spPr>
          <a:xfrm flipV="1">
            <a:off x="3416643" y="2320562"/>
            <a:ext cx="5438265" cy="5562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368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7" grpId="0" animBg="1"/>
      <p:bldP spid="16" grpId="0"/>
      <p:bldP spid="21" grpId="0"/>
      <p:bldP spid="18" grpId="0"/>
      <p:bldP spid="27" grpId="0" animBg="1"/>
      <p:bldP spid="28" grpId="0" animBg="1"/>
      <p:bldP spid="29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3021</TotalTime>
  <Words>1019</Words>
  <Application>Microsoft Office PowerPoint</Application>
  <PresentationFormat>Widescreen</PresentationFormat>
  <Paragraphs>220</Paragraphs>
  <Slides>6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2" baseType="lpstr">
      <vt:lpstr>Arial</vt:lpstr>
      <vt:lpstr>Arial Unicode MS</vt:lpstr>
      <vt:lpstr>Calibri</vt:lpstr>
      <vt:lpstr>Century Gothic</vt:lpstr>
      <vt:lpstr>Century Gothic Bold</vt:lpstr>
      <vt:lpstr>Helvetica Neue</vt:lpstr>
      <vt:lpstr>IBM Plex Sans</vt:lpstr>
      <vt:lpstr>Roboto Slab</vt:lpstr>
      <vt:lpstr>Wingdings</vt:lpstr>
      <vt:lpstr>AE Template</vt:lpstr>
      <vt:lpstr>think-cell Slide</vt:lpstr>
      <vt:lpstr>Migrate your SSIS skills to ADF</vt:lpstr>
      <vt:lpstr>contact</vt:lpstr>
      <vt:lpstr>agenda</vt:lpstr>
      <vt:lpstr>user personas</vt:lpstr>
      <vt:lpstr>you have 3 options</vt:lpstr>
      <vt:lpstr>user personas</vt:lpstr>
      <vt:lpstr>public service announcement</vt:lpstr>
      <vt:lpstr>  lift &amp; shift</vt:lpstr>
      <vt:lpstr>PowerPoint Presentation</vt:lpstr>
      <vt:lpstr>PowerPoint Presentation</vt:lpstr>
      <vt:lpstr>Azure-SSIS IR</vt:lpstr>
      <vt:lpstr>PowerPoint Presentation</vt:lpstr>
      <vt:lpstr>PowerPoint Presentation</vt:lpstr>
      <vt:lpstr>typical flow</vt:lpstr>
      <vt:lpstr>  demo</vt:lpstr>
      <vt:lpstr>Step 1</vt:lpstr>
      <vt:lpstr>Step 2</vt:lpstr>
      <vt:lpstr>Step 3</vt:lpstr>
      <vt:lpstr>Step 4</vt:lpstr>
      <vt:lpstr>Step 5</vt:lpstr>
      <vt:lpstr>Step 6</vt:lpstr>
      <vt:lpstr>Step 7</vt:lpstr>
      <vt:lpstr>Step 8</vt:lpstr>
      <vt:lpstr>Step 9</vt:lpstr>
      <vt:lpstr>Step 10</vt:lpstr>
      <vt:lpstr>skills needed?</vt:lpstr>
      <vt:lpstr>want to learn more?</vt:lpstr>
      <vt:lpstr>user personas</vt:lpstr>
      <vt:lpstr> use ADF as an orchestrator</vt:lpstr>
      <vt:lpstr>PowerPoint Presentation</vt:lpstr>
      <vt:lpstr>pipeline = control flow</vt:lpstr>
      <vt:lpstr>activities = control flow tasks</vt:lpstr>
      <vt:lpstr>precedence constraints?</vt:lpstr>
      <vt:lpstr>copy data activity = data flow with only source and destination</vt:lpstr>
      <vt:lpstr>linked service = connection manager</vt:lpstr>
      <vt:lpstr>data set</vt:lpstr>
      <vt:lpstr>integration runtimes</vt:lpstr>
      <vt:lpstr>  demo</vt:lpstr>
      <vt:lpstr>metadata ftw = forget about BIML</vt:lpstr>
      <vt:lpstr>parameterize everything</vt:lpstr>
      <vt:lpstr>fetch metadata &amp; loop</vt:lpstr>
      <vt:lpstr>fill parameters at runtime</vt:lpstr>
      <vt:lpstr>  demo</vt:lpstr>
      <vt:lpstr>cost</vt:lpstr>
      <vt:lpstr>important to remember</vt:lpstr>
      <vt:lpstr>example</vt:lpstr>
      <vt:lpstr>example</vt:lpstr>
      <vt:lpstr>skills needed?</vt:lpstr>
      <vt:lpstr>want to learn more?</vt:lpstr>
      <vt:lpstr>user personas</vt:lpstr>
      <vt:lpstr>   using data flows</vt:lpstr>
      <vt:lpstr>(mapping) data flow ≈ SSIS data flow</vt:lpstr>
      <vt:lpstr>Power Query</vt:lpstr>
      <vt:lpstr>  demo</vt:lpstr>
      <vt:lpstr>skills needed?</vt:lpstr>
      <vt:lpstr>  conclusion</vt:lpstr>
      <vt:lpstr>advantages of SSIS</vt:lpstr>
      <vt:lpstr>advantages of ADF</vt:lpstr>
      <vt:lpstr>disadvantages of ADF</vt:lpstr>
      <vt:lpstr>want to learn more?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3</cp:revision>
  <dcterms:created xsi:type="dcterms:W3CDTF">2022-08-23T10:53:58Z</dcterms:created>
  <dcterms:modified xsi:type="dcterms:W3CDTF">2024-01-05T14:22:16Z</dcterms:modified>
</cp:coreProperties>
</file>